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22"/>
  </p:sldMasterIdLst>
  <p:notesMasterIdLst>
    <p:notesMasterId r:id="rId34"/>
  </p:notesMasterIdLst>
  <p:handoutMasterIdLst>
    <p:handoutMasterId r:id="rId35"/>
  </p:handoutMasterIdLst>
  <p:sldIdLst>
    <p:sldId id="931" r:id="rId23"/>
    <p:sldId id="958" r:id="rId24"/>
    <p:sldId id="1746" r:id="rId25"/>
    <p:sldId id="4751" r:id="rId26"/>
    <p:sldId id="4766" r:id="rId27"/>
    <p:sldId id="4761" r:id="rId28"/>
    <p:sldId id="4779" r:id="rId29"/>
    <p:sldId id="4780" r:id="rId30"/>
    <p:sldId id="4781" r:id="rId31"/>
    <p:sldId id="4782" r:id="rId32"/>
    <p:sldId id="968" r:id="rId33"/>
  </p:sldIdLst>
  <p:sldSz cx="9144000" cy="6858000" type="screen4x3"/>
  <p:notesSz cx="7102475" cy="10234613"/>
  <p:custDataLst>
    <p:custData r:id="rId4"/>
    <p:tags r:id="rId36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2432">
          <p15:clr>
            <a:srgbClr val="A4A3A4"/>
          </p15:clr>
        </p15:guide>
        <p15:guide id="3" orient="horz" pos="2341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618">
          <p15:clr>
            <a:srgbClr val="A4A3A4"/>
          </p15:clr>
        </p15:guide>
        <p15:guide id="7" pos="340">
          <p15:clr>
            <a:srgbClr val="A4A3A4"/>
          </p15:clr>
        </p15:guide>
        <p15:guide id="8" pos="2880">
          <p15:clr>
            <a:srgbClr val="A4A3A4"/>
          </p15:clr>
        </p15:guide>
        <p15:guide id="9" pos="2971">
          <p15:clr>
            <a:srgbClr val="A4A3A4"/>
          </p15:clr>
        </p15:guide>
        <p15:guide id="10" pos="55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dre, Rishikesh (IOT DS AA DDI HMI-RT EC-APPS)" initials="BR(DADHE" lastIdx="1" clrIdx="0">
    <p:extLst>
      <p:ext uri="{19B8F6BF-5375-455C-9EA6-DF929625EA0E}">
        <p15:presenceInfo xmlns:p15="http://schemas.microsoft.com/office/powerpoint/2012/main" userId="S::rishikesh.bedre@siemens.com::303932b9-f388-40ea-b4f7-7de3c149bd3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FCFC"/>
    <a:srgbClr val="FDFDFC"/>
    <a:srgbClr val="FDFDFD"/>
    <a:srgbClr val="FDFEFD"/>
    <a:srgbClr val="FEFDFD"/>
    <a:srgbClr val="FEFEFD"/>
    <a:srgbClr val="FEFEFE"/>
    <a:srgbClr val="FEFFFE"/>
    <a:srgbClr val="FFFEFE"/>
    <a:srgbClr val="FFFF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99" autoAdjust="0"/>
    <p:restoredTop sz="95220" autoAdjust="0"/>
  </p:normalViewPr>
  <p:slideViewPr>
    <p:cSldViewPr snapToObjects="1" showGuides="1">
      <p:cViewPr varScale="1">
        <p:scale>
          <a:sx n="75" d="100"/>
          <a:sy n="75" d="100"/>
        </p:scale>
        <p:origin x="1243" y="62"/>
      </p:cViewPr>
      <p:guideLst>
        <p:guide orient="horz" pos="3884"/>
        <p:guide orient="horz" pos="2432"/>
        <p:guide orient="horz" pos="2341"/>
        <p:guide orient="horz" pos="890"/>
        <p:guide orient="horz" pos="210"/>
        <p:guide orient="horz" pos="618"/>
        <p:guide pos="340"/>
        <p:guide pos="2880"/>
        <p:guide pos="2971"/>
        <p:guide pos="5511"/>
      </p:guideLst>
    </p:cSldViewPr>
  </p:slideViewPr>
  <p:outlineViewPr>
    <p:cViewPr>
      <p:scale>
        <a:sx n="33" d="100"/>
        <a:sy n="33" d="100"/>
      </p:scale>
      <p:origin x="0" y="-226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76" d="100"/>
          <a:sy n="76" d="100"/>
        </p:scale>
        <p:origin x="4032" y="120"/>
      </p:cViewPr>
      <p:guideLst>
        <p:guide orient="horz" pos="3224"/>
        <p:guide pos="2237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4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customXml" Target="../customXml/item21.xml"/><Relationship Id="rId34" Type="http://schemas.openxmlformats.org/officeDocument/2006/relationships/notesMaster" Target="notesMasters/notesMaster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" Target="slides/slide7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tags" Target="tags/tag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9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Master" Target="slideMasters/slideMaster1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handoutMaster" Target="handoutMasters/handoutMaster1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svg"/><Relationship Id="rId1" Type="http://schemas.openxmlformats.org/officeDocument/2006/relationships/image" Target="../media/image4.png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svg"/><Relationship Id="rId1" Type="http://schemas.openxmlformats.org/officeDocument/2006/relationships/image" Target="../media/image4.png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FC4972-EC99-4E04-B967-3D1512AD5412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AADE11C-F2CE-4335-B584-E9D0D52901C9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i="1" dirty="0"/>
            <a:t>Related Terminology</a:t>
          </a:r>
          <a:endParaRPr lang="en-US" dirty="0"/>
        </a:p>
      </dgm:t>
    </dgm:pt>
    <dgm:pt modelId="{2A1622D4-CD2F-487C-A596-E307E7873B06}" type="parTrans" cxnId="{7ADAFEF7-47CA-4084-9E00-90B1507CEA6E}">
      <dgm:prSet/>
      <dgm:spPr/>
      <dgm:t>
        <a:bodyPr/>
        <a:lstStyle/>
        <a:p>
          <a:endParaRPr lang="en-US"/>
        </a:p>
      </dgm:t>
    </dgm:pt>
    <dgm:pt modelId="{2916598A-9275-451F-AFB5-F30961953CA6}" type="sibTrans" cxnId="{7ADAFEF7-47CA-4084-9E00-90B1507CEA6E}">
      <dgm:prSet/>
      <dgm:spPr/>
      <dgm:t>
        <a:bodyPr/>
        <a:lstStyle/>
        <a:p>
          <a:endParaRPr lang="en-US"/>
        </a:p>
      </dgm:t>
    </dgm:pt>
    <dgm:pt modelId="{9E0DC27D-6308-485F-8682-3AB4CEF5D75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i="1" dirty="0"/>
            <a:t>Test Flow</a:t>
          </a:r>
          <a:endParaRPr lang="en-US" dirty="0"/>
        </a:p>
      </dgm:t>
    </dgm:pt>
    <dgm:pt modelId="{9A658042-2698-4511-AA8C-62F8C7009088}" type="parTrans" cxnId="{8C2FD537-AAF0-489D-BB79-C5BE2D6FF63B}">
      <dgm:prSet/>
      <dgm:spPr/>
      <dgm:t>
        <a:bodyPr/>
        <a:lstStyle/>
        <a:p>
          <a:endParaRPr lang="en-US"/>
        </a:p>
      </dgm:t>
    </dgm:pt>
    <dgm:pt modelId="{12A39631-1646-498C-A90D-5463B15573FF}" type="sibTrans" cxnId="{8C2FD537-AAF0-489D-BB79-C5BE2D6FF63B}">
      <dgm:prSet/>
      <dgm:spPr/>
      <dgm:t>
        <a:bodyPr/>
        <a:lstStyle/>
        <a:p>
          <a:endParaRPr lang="en-US"/>
        </a:p>
      </dgm:t>
    </dgm:pt>
    <dgm:pt modelId="{0287B479-7E0D-4AAA-9C8B-9E87568A4DB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i="1" dirty="0"/>
            <a:t>Example Demo</a:t>
          </a:r>
          <a:endParaRPr lang="en-US" dirty="0"/>
        </a:p>
      </dgm:t>
    </dgm:pt>
    <dgm:pt modelId="{F43DB49D-E7F4-4626-B958-24B0D456F9BF}" type="parTrans" cxnId="{ECE18AA5-FF60-43BA-8226-4E8BCAABEAB1}">
      <dgm:prSet/>
      <dgm:spPr/>
      <dgm:t>
        <a:bodyPr/>
        <a:lstStyle/>
        <a:p>
          <a:endParaRPr lang="en-US"/>
        </a:p>
      </dgm:t>
    </dgm:pt>
    <dgm:pt modelId="{B3C609C1-FD41-48FF-9022-946A11B88FF2}" type="sibTrans" cxnId="{ECE18AA5-FF60-43BA-8226-4E8BCAABEAB1}">
      <dgm:prSet/>
      <dgm:spPr/>
      <dgm:t>
        <a:bodyPr/>
        <a:lstStyle/>
        <a:p>
          <a:endParaRPr lang="en-US"/>
        </a:p>
      </dgm:t>
    </dgm:pt>
    <dgm:pt modelId="{003EF5EA-95E5-4B26-A6ED-FE15B8693713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200" i="1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Introduction</a:t>
          </a:r>
        </a:p>
      </dgm:t>
    </dgm:pt>
    <dgm:pt modelId="{F4BBBCE4-EA5C-4D06-B8CB-03DF9E168BF1}" type="parTrans" cxnId="{BB7B00A8-475F-46EE-A42F-0DFA12B53995}">
      <dgm:prSet/>
      <dgm:spPr/>
      <dgm:t>
        <a:bodyPr/>
        <a:lstStyle/>
        <a:p>
          <a:endParaRPr lang="en-US"/>
        </a:p>
      </dgm:t>
    </dgm:pt>
    <dgm:pt modelId="{5EC1B30D-8739-403D-99F7-E21AC9D2D2FC}" type="sibTrans" cxnId="{BB7B00A8-475F-46EE-A42F-0DFA12B53995}">
      <dgm:prSet/>
      <dgm:spPr/>
      <dgm:t>
        <a:bodyPr/>
        <a:lstStyle/>
        <a:p>
          <a:endParaRPr lang="en-US"/>
        </a:p>
      </dgm:t>
    </dgm:pt>
    <dgm:pt modelId="{A8FA378B-DFB9-4BC1-BE3B-F31DCCED8BC7}" type="pres">
      <dgm:prSet presAssocID="{44FC4972-EC99-4E04-B967-3D1512AD5412}" presName="root" presStyleCnt="0">
        <dgm:presLayoutVars>
          <dgm:dir/>
          <dgm:resizeHandles val="exact"/>
        </dgm:presLayoutVars>
      </dgm:prSet>
      <dgm:spPr/>
    </dgm:pt>
    <dgm:pt modelId="{F2F5E068-BBAB-40D1-93A9-9AE5DF3AE93F}" type="pres">
      <dgm:prSet presAssocID="{003EF5EA-95E5-4B26-A6ED-FE15B8693713}" presName="compNode" presStyleCnt="0"/>
      <dgm:spPr/>
    </dgm:pt>
    <dgm:pt modelId="{6DD352AC-35C6-4DCB-8A3C-AA28C63A330B}" type="pres">
      <dgm:prSet presAssocID="{003EF5EA-95E5-4B26-A6ED-FE15B8693713}" presName="bgRect" presStyleLbl="bgShp" presStyleIdx="0" presStyleCnt="4"/>
      <dgm:spPr/>
    </dgm:pt>
    <dgm:pt modelId="{8A08F8A0-6DB9-45A9-ABE2-1703FB67C343}" type="pres">
      <dgm:prSet presAssocID="{003EF5EA-95E5-4B26-A6ED-FE15B8693713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eacher"/>
        </a:ext>
      </dgm:extLst>
    </dgm:pt>
    <dgm:pt modelId="{5770DC89-876A-4D96-BDC9-EEC8C01AD152}" type="pres">
      <dgm:prSet presAssocID="{003EF5EA-95E5-4B26-A6ED-FE15B8693713}" presName="spaceRect" presStyleCnt="0"/>
      <dgm:spPr/>
    </dgm:pt>
    <dgm:pt modelId="{D448E817-72CC-4891-AD87-EFDAAEBE1E16}" type="pres">
      <dgm:prSet presAssocID="{003EF5EA-95E5-4B26-A6ED-FE15B8693713}" presName="parTx" presStyleLbl="revTx" presStyleIdx="0" presStyleCnt="4">
        <dgm:presLayoutVars>
          <dgm:chMax val="0"/>
          <dgm:chPref val="0"/>
        </dgm:presLayoutVars>
      </dgm:prSet>
      <dgm:spPr/>
    </dgm:pt>
    <dgm:pt modelId="{90E138E4-4CFF-4617-8C37-FD4450D3A258}" type="pres">
      <dgm:prSet presAssocID="{5EC1B30D-8739-403D-99F7-E21AC9D2D2FC}" presName="sibTrans" presStyleCnt="0"/>
      <dgm:spPr/>
    </dgm:pt>
    <dgm:pt modelId="{F040B086-A403-453C-A017-952EA3E227CD}" type="pres">
      <dgm:prSet presAssocID="{6AADE11C-F2CE-4335-B584-E9D0D52901C9}" presName="compNode" presStyleCnt="0"/>
      <dgm:spPr/>
    </dgm:pt>
    <dgm:pt modelId="{A076C9B1-98A8-4F74-B7B5-E580CA8CDA69}" type="pres">
      <dgm:prSet presAssocID="{6AADE11C-F2CE-4335-B584-E9D0D52901C9}" presName="bgRect" presStyleLbl="bgShp" presStyleIdx="1" presStyleCnt="4"/>
      <dgm:spPr/>
    </dgm:pt>
    <dgm:pt modelId="{12CE7984-5B96-4733-BDE8-783134660DF8}" type="pres">
      <dgm:prSet presAssocID="{6AADE11C-F2CE-4335-B584-E9D0D52901C9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encil"/>
        </a:ext>
      </dgm:extLst>
    </dgm:pt>
    <dgm:pt modelId="{81E884F3-21D7-4554-97EC-19917175806E}" type="pres">
      <dgm:prSet presAssocID="{6AADE11C-F2CE-4335-B584-E9D0D52901C9}" presName="spaceRect" presStyleCnt="0"/>
      <dgm:spPr/>
    </dgm:pt>
    <dgm:pt modelId="{761257AD-307F-460E-96A3-9518699BC5F7}" type="pres">
      <dgm:prSet presAssocID="{6AADE11C-F2CE-4335-B584-E9D0D52901C9}" presName="parTx" presStyleLbl="revTx" presStyleIdx="1" presStyleCnt="4">
        <dgm:presLayoutVars>
          <dgm:chMax val="0"/>
          <dgm:chPref val="0"/>
        </dgm:presLayoutVars>
      </dgm:prSet>
      <dgm:spPr/>
    </dgm:pt>
    <dgm:pt modelId="{7AFA2DE6-92F9-4BC7-BC22-911E5B44AF4A}" type="pres">
      <dgm:prSet presAssocID="{2916598A-9275-451F-AFB5-F30961953CA6}" presName="sibTrans" presStyleCnt="0"/>
      <dgm:spPr/>
    </dgm:pt>
    <dgm:pt modelId="{2DA073D9-6BC8-431E-8E52-C5DDE7943393}" type="pres">
      <dgm:prSet presAssocID="{9E0DC27D-6308-485F-8682-3AB4CEF5D752}" presName="compNode" presStyleCnt="0"/>
      <dgm:spPr/>
    </dgm:pt>
    <dgm:pt modelId="{AB541E75-6B5A-4EC8-AF24-0671B016A635}" type="pres">
      <dgm:prSet presAssocID="{9E0DC27D-6308-485F-8682-3AB4CEF5D752}" presName="bgRect" presStyleLbl="bgShp" presStyleIdx="2" presStyleCnt="4"/>
      <dgm:spPr/>
    </dgm:pt>
    <dgm:pt modelId="{4C20C652-A6EF-44D2-BE24-EFAB29822F67}" type="pres">
      <dgm:prSet presAssocID="{9E0DC27D-6308-485F-8682-3AB4CEF5D752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B1338685-76B5-47B7-8888-7F96E839EBFA}" type="pres">
      <dgm:prSet presAssocID="{9E0DC27D-6308-485F-8682-3AB4CEF5D752}" presName="spaceRect" presStyleCnt="0"/>
      <dgm:spPr/>
    </dgm:pt>
    <dgm:pt modelId="{F88B61E9-C5EE-43C9-A4EF-AFAC17CCAAF5}" type="pres">
      <dgm:prSet presAssocID="{9E0DC27D-6308-485F-8682-3AB4CEF5D752}" presName="parTx" presStyleLbl="revTx" presStyleIdx="2" presStyleCnt="4">
        <dgm:presLayoutVars>
          <dgm:chMax val="0"/>
          <dgm:chPref val="0"/>
        </dgm:presLayoutVars>
      </dgm:prSet>
      <dgm:spPr/>
    </dgm:pt>
    <dgm:pt modelId="{438C93B7-EFD6-4BD5-95A2-F1D43B561A39}" type="pres">
      <dgm:prSet presAssocID="{12A39631-1646-498C-A90D-5463B15573FF}" presName="sibTrans" presStyleCnt="0"/>
      <dgm:spPr/>
    </dgm:pt>
    <dgm:pt modelId="{366254A1-95AC-4DAC-8F75-A6AD224E2355}" type="pres">
      <dgm:prSet presAssocID="{0287B479-7E0D-4AAA-9C8B-9E87568A4DB1}" presName="compNode" presStyleCnt="0"/>
      <dgm:spPr/>
    </dgm:pt>
    <dgm:pt modelId="{71681EA1-041A-43C4-87D4-439280B0CA1E}" type="pres">
      <dgm:prSet presAssocID="{0287B479-7E0D-4AAA-9C8B-9E87568A4DB1}" presName="bgRect" presStyleLbl="bgShp" presStyleIdx="3" presStyleCnt="4"/>
      <dgm:spPr/>
    </dgm:pt>
    <dgm:pt modelId="{DD742685-FB22-4AAF-AC62-54B98C1E933D}" type="pres">
      <dgm:prSet presAssocID="{0287B479-7E0D-4AAA-9C8B-9E87568A4DB1}" presName="iconRect" presStyleLbl="node1" presStyleIdx="3" presStyleCnt="4"/>
      <dgm:spPr>
        <a:blipFill rotWithShape="1"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066AA0DD-0133-4CF8-87FF-DB8CB512AF43}" type="pres">
      <dgm:prSet presAssocID="{0287B479-7E0D-4AAA-9C8B-9E87568A4DB1}" presName="spaceRect" presStyleCnt="0"/>
      <dgm:spPr/>
    </dgm:pt>
    <dgm:pt modelId="{C3E891A4-B387-4A5B-8D73-1EC8EAC7F923}" type="pres">
      <dgm:prSet presAssocID="{0287B479-7E0D-4AAA-9C8B-9E87568A4DB1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97A9CB0C-6F3F-44B6-88F0-3B6B59893C7D}" type="presOf" srcId="{9E0DC27D-6308-485F-8682-3AB4CEF5D752}" destId="{F88B61E9-C5EE-43C9-A4EF-AFAC17CCAAF5}" srcOrd="0" destOrd="0" presId="urn:microsoft.com/office/officeart/2018/2/layout/IconVerticalSolidList"/>
    <dgm:cxn modelId="{8C2FD537-AAF0-489D-BB79-C5BE2D6FF63B}" srcId="{44FC4972-EC99-4E04-B967-3D1512AD5412}" destId="{9E0DC27D-6308-485F-8682-3AB4CEF5D752}" srcOrd="2" destOrd="0" parTransId="{9A658042-2698-4511-AA8C-62F8C7009088}" sibTransId="{12A39631-1646-498C-A90D-5463B15573FF}"/>
    <dgm:cxn modelId="{B509BE6A-B5BE-4D03-947F-74CFD4FBCA22}" type="presOf" srcId="{0287B479-7E0D-4AAA-9C8B-9E87568A4DB1}" destId="{C3E891A4-B387-4A5B-8D73-1EC8EAC7F923}" srcOrd="0" destOrd="0" presId="urn:microsoft.com/office/officeart/2018/2/layout/IconVerticalSolidList"/>
    <dgm:cxn modelId="{0B7BCB7E-A18B-400E-B7BE-31836CE68883}" type="presOf" srcId="{6AADE11C-F2CE-4335-B584-E9D0D52901C9}" destId="{761257AD-307F-460E-96A3-9518699BC5F7}" srcOrd="0" destOrd="0" presId="urn:microsoft.com/office/officeart/2018/2/layout/IconVerticalSolidList"/>
    <dgm:cxn modelId="{BC865695-F844-4267-A3A7-76D1F92FF693}" type="presOf" srcId="{44FC4972-EC99-4E04-B967-3D1512AD5412}" destId="{A8FA378B-DFB9-4BC1-BE3B-F31DCCED8BC7}" srcOrd="0" destOrd="0" presId="urn:microsoft.com/office/officeart/2018/2/layout/IconVerticalSolidList"/>
    <dgm:cxn modelId="{ECE18AA5-FF60-43BA-8226-4E8BCAABEAB1}" srcId="{44FC4972-EC99-4E04-B967-3D1512AD5412}" destId="{0287B479-7E0D-4AAA-9C8B-9E87568A4DB1}" srcOrd="3" destOrd="0" parTransId="{F43DB49D-E7F4-4626-B958-24B0D456F9BF}" sibTransId="{B3C609C1-FD41-48FF-9022-946A11B88FF2}"/>
    <dgm:cxn modelId="{BB7B00A8-475F-46EE-A42F-0DFA12B53995}" srcId="{44FC4972-EC99-4E04-B967-3D1512AD5412}" destId="{003EF5EA-95E5-4B26-A6ED-FE15B8693713}" srcOrd="0" destOrd="0" parTransId="{F4BBBCE4-EA5C-4D06-B8CB-03DF9E168BF1}" sibTransId="{5EC1B30D-8739-403D-99F7-E21AC9D2D2FC}"/>
    <dgm:cxn modelId="{B1B4EFBE-8F99-46CF-9BF3-F3CE4C14E2F9}" type="presOf" srcId="{003EF5EA-95E5-4B26-A6ED-FE15B8693713}" destId="{D448E817-72CC-4891-AD87-EFDAAEBE1E16}" srcOrd="0" destOrd="0" presId="urn:microsoft.com/office/officeart/2018/2/layout/IconVerticalSolidList"/>
    <dgm:cxn modelId="{7ADAFEF7-47CA-4084-9E00-90B1507CEA6E}" srcId="{44FC4972-EC99-4E04-B967-3D1512AD5412}" destId="{6AADE11C-F2CE-4335-B584-E9D0D52901C9}" srcOrd="1" destOrd="0" parTransId="{2A1622D4-CD2F-487C-A596-E307E7873B06}" sibTransId="{2916598A-9275-451F-AFB5-F30961953CA6}"/>
    <dgm:cxn modelId="{B6B6CCC0-896B-4C09-BD9A-DAF973C4AA03}" type="presParOf" srcId="{A8FA378B-DFB9-4BC1-BE3B-F31DCCED8BC7}" destId="{F2F5E068-BBAB-40D1-93A9-9AE5DF3AE93F}" srcOrd="0" destOrd="0" presId="urn:microsoft.com/office/officeart/2018/2/layout/IconVerticalSolidList"/>
    <dgm:cxn modelId="{5E6F9715-EBB9-4A1A-8822-0372CB4E1C22}" type="presParOf" srcId="{F2F5E068-BBAB-40D1-93A9-9AE5DF3AE93F}" destId="{6DD352AC-35C6-4DCB-8A3C-AA28C63A330B}" srcOrd="0" destOrd="0" presId="urn:microsoft.com/office/officeart/2018/2/layout/IconVerticalSolidList"/>
    <dgm:cxn modelId="{D1FFDC32-A628-425E-889F-2AEACDD5ADA6}" type="presParOf" srcId="{F2F5E068-BBAB-40D1-93A9-9AE5DF3AE93F}" destId="{8A08F8A0-6DB9-45A9-ABE2-1703FB67C343}" srcOrd="1" destOrd="0" presId="urn:microsoft.com/office/officeart/2018/2/layout/IconVerticalSolidList"/>
    <dgm:cxn modelId="{C380C996-6423-4228-A389-71E9EF18E873}" type="presParOf" srcId="{F2F5E068-BBAB-40D1-93A9-9AE5DF3AE93F}" destId="{5770DC89-876A-4D96-BDC9-EEC8C01AD152}" srcOrd="2" destOrd="0" presId="urn:microsoft.com/office/officeart/2018/2/layout/IconVerticalSolidList"/>
    <dgm:cxn modelId="{DDD6F38B-E1BA-4055-8F24-3541A6D96E7D}" type="presParOf" srcId="{F2F5E068-BBAB-40D1-93A9-9AE5DF3AE93F}" destId="{D448E817-72CC-4891-AD87-EFDAAEBE1E16}" srcOrd="3" destOrd="0" presId="urn:microsoft.com/office/officeart/2018/2/layout/IconVerticalSolidList"/>
    <dgm:cxn modelId="{927332E9-C756-4063-BEF3-B950CDE2CFDB}" type="presParOf" srcId="{A8FA378B-DFB9-4BC1-BE3B-F31DCCED8BC7}" destId="{90E138E4-4CFF-4617-8C37-FD4450D3A258}" srcOrd="1" destOrd="0" presId="urn:microsoft.com/office/officeart/2018/2/layout/IconVerticalSolidList"/>
    <dgm:cxn modelId="{893BBBFE-2805-4677-A449-BE30E5A74769}" type="presParOf" srcId="{A8FA378B-DFB9-4BC1-BE3B-F31DCCED8BC7}" destId="{F040B086-A403-453C-A017-952EA3E227CD}" srcOrd="2" destOrd="0" presId="urn:microsoft.com/office/officeart/2018/2/layout/IconVerticalSolidList"/>
    <dgm:cxn modelId="{C69A0788-D1DF-4490-9D65-46D235A4A6AE}" type="presParOf" srcId="{F040B086-A403-453C-A017-952EA3E227CD}" destId="{A076C9B1-98A8-4F74-B7B5-E580CA8CDA69}" srcOrd="0" destOrd="0" presId="urn:microsoft.com/office/officeart/2018/2/layout/IconVerticalSolidList"/>
    <dgm:cxn modelId="{CE67227F-0CCA-4BA4-9FC1-FD2C616F9AF4}" type="presParOf" srcId="{F040B086-A403-453C-A017-952EA3E227CD}" destId="{12CE7984-5B96-4733-BDE8-783134660DF8}" srcOrd="1" destOrd="0" presId="urn:microsoft.com/office/officeart/2018/2/layout/IconVerticalSolidList"/>
    <dgm:cxn modelId="{ECF48F20-D511-438D-89F2-282784CBCD35}" type="presParOf" srcId="{F040B086-A403-453C-A017-952EA3E227CD}" destId="{81E884F3-21D7-4554-97EC-19917175806E}" srcOrd="2" destOrd="0" presId="urn:microsoft.com/office/officeart/2018/2/layout/IconVerticalSolidList"/>
    <dgm:cxn modelId="{7BCA8E86-5CD8-4449-A6AB-66AE85971DD9}" type="presParOf" srcId="{F040B086-A403-453C-A017-952EA3E227CD}" destId="{761257AD-307F-460E-96A3-9518699BC5F7}" srcOrd="3" destOrd="0" presId="urn:microsoft.com/office/officeart/2018/2/layout/IconVerticalSolidList"/>
    <dgm:cxn modelId="{5AB2593F-6273-4FA9-8EBB-81CACFE56287}" type="presParOf" srcId="{A8FA378B-DFB9-4BC1-BE3B-F31DCCED8BC7}" destId="{7AFA2DE6-92F9-4BC7-BC22-911E5B44AF4A}" srcOrd="3" destOrd="0" presId="urn:microsoft.com/office/officeart/2018/2/layout/IconVerticalSolidList"/>
    <dgm:cxn modelId="{6D2B0D45-2B77-4FE9-A2B5-EF82296826E0}" type="presParOf" srcId="{A8FA378B-DFB9-4BC1-BE3B-F31DCCED8BC7}" destId="{2DA073D9-6BC8-431E-8E52-C5DDE7943393}" srcOrd="4" destOrd="0" presId="urn:microsoft.com/office/officeart/2018/2/layout/IconVerticalSolidList"/>
    <dgm:cxn modelId="{D0D0609F-B349-4ACF-BC7E-2358DB6C79BD}" type="presParOf" srcId="{2DA073D9-6BC8-431E-8E52-C5DDE7943393}" destId="{AB541E75-6B5A-4EC8-AF24-0671B016A635}" srcOrd="0" destOrd="0" presId="urn:microsoft.com/office/officeart/2018/2/layout/IconVerticalSolidList"/>
    <dgm:cxn modelId="{A6535237-9FF3-416C-BC8E-B390045B348D}" type="presParOf" srcId="{2DA073D9-6BC8-431E-8E52-C5DDE7943393}" destId="{4C20C652-A6EF-44D2-BE24-EFAB29822F67}" srcOrd="1" destOrd="0" presId="urn:microsoft.com/office/officeart/2018/2/layout/IconVerticalSolidList"/>
    <dgm:cxn modelId="{1B85391A-4550-4A8E-8562-6E2182D67C30}" type="presParOf" srcId="{2DA073D9-6BC8-431E-8E52-C5DDE7943393}" destId="{B1338685-76B5-47B7-8888-7F96E839EBFA}" srcOrd="2" destOrd="0" presId="urn:microsoft.com/office/officeart/2018/2/layout/IconVerticalSolidList"/>
    <dgm:cxn modelId="{9746B1A6-472F-4EEC-9BB9-A459FF82954C}" type="presParOf" srcId="{2DA073D9-6BC8-431E-8E52-C5DDE7943393}" destId="{F88B61E9-C5EE-43C9-A4EF-AFAC17CCAAF5}" srcOrd="3" destOrd="0" presId="urn:microsoft.com/office/officeart/2018/2/layout/IconVerticalSolidList"/>
    <dgm:cxn modelId="{6136F737-7F7E-42FB-9E78-D949EEF78A9A}" type="presParOf" srcId="{A8FA378B-DFB9-4BC1-BE3B-F31DCCED8BC7}" destId="{438C93B7-EFD6-4BD5-95A2-F1D43B561A39}" srcOrd="5" destOrd="0" presId="urn:microsoft.com/office/officeart/2018/2/layout/IconVerticalSolidList"/>
    <dgm:cxn modelId="{4B85B599-7404-438B-80ED-B08399BC4F37}" type="presParOf" srcId="{A8FA378B-DFB9-4BC1-BE3B-F31DCCED8BC7}" destId="{366254A1-95AC-4DAC-8F75-A6AD224E2355}" srcOrd="6" destOrd="0" presId="urn:microsoft.com/office/officeart/2018/2/layout/IconVerticalSolidList"/>
    <dgm:cxn modelId="{6CBAE129-7F44-495E-8971-F2911260C0BD}" type="presParOf" srcId="{366254A1-95AC-4DAC-8F75-A6AD224E2355}" destId="{71681EA1-041A-43C4-87D4-439280B0CA1E}" srcOrd="0" destOrd="0" presId="urn:microsoft.com/office/officeart/2018/2/layout/IconVerticalSolidList"/>
    <dgm:cxn modelId="{AA9BC337-4C3C-42B6-B09D-91263E933882}" type="presParOf" srcId="{366254A1-95AC-4DAC-8F75-A6AD224E2355}" destId="{DD742685-FB22-4AAF-AC62-54B98C1E933D}" srcOrd="1" destOrd="0" presId="urn:microsoft.com/office/officeart/2018/2/layout/IconVerticalSolidList"/>
    <dgm:cxn modelId="{3873B631-E4BC-4C39-AAE9-A5F645E846D4}" type="presParOf" srcId="{366254A1-95AC-4DAC-8F75-A6AD224E2355}" destId="{066AA0DD-0133-4CF8-87FF-DB8CB512AF43}" srcOrd="2" destOrd="0" presId="urn:microsoft.com/office/officeart/2018/2/layout/IconVerticalSolidList"/>
    <dgm:cxn modelId="{06F8D9EC-4580-412D-B001-637436211114}" type="presParOf" srcId="{366254A1-95AC-4DAC-8F75-A6AD224E2355}" destId="{C3E891A4-B387-4A5B-8D73-1EC8EAC7F923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D352AC-35C6-4DCB-8A3C-AA28C63A330B}">
      <dsp:nvSpPr>
        <dsp:cNvPr id="0" name=""/>
        <dsp:cNvSpPr/>
      </dsp:nvSpPr>
      <dsp:spPr>
        <a:xfrm>
          <a:off x="0" y="1972"/>
          <a:ext cx="8208963" cy="9997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08F8A0-6DB9-45A9-ABE2-1703FB67C343}">
      <dsp:nvSpPr>
        <dsp:cNvPr id="0" name=""/>
        <dsp:cNvSpPr/>
      </dsp:nvSpPr>
      <dsp:spPr>
        <a:xfrm>
          <a:off x="302438" y="226926"/>
          <a:ext cx="549887" cy="54988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448E817-72CC-4891-AD87-EFDAAEBE1E16}">
      <dsp:nvSpPr>
        <dsp:cNvPr id="0" name=""/>
        <dsp:cNvSpPr/>
      </dsp:nvSpPr>
      <dsp:spPr>
        <a:xfrm>
          <a:off x="1154764" y="1972"/>
          <a:ext cx="7054198" cy="9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5812" tIns="105812" rIns="105812" bIns="10581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i="1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Introduction</a:t>
          </a:r>
        </a:p>
      </dsp:txBody>
      <dsp:txXfrm>
        <a:off x="1154764" y="1972"/>
        <a:ext cx="7054198" cy="999796"/>
      </dsp:txXfrm>
    </dsp:sp>
    <dsp:sp modelId="{A076C9B1-98A8-4F74-B7B5-E580CA8CDA69}">
      <dsp:nvSpPr>
        <dsp:cNvPr id="0" name=""/>
        <dsp:cNvSpPr/>
      </dsp:nvSpPr>
      <dsp:spPr>
        <a:xfrm>
          <a:off x="0" y="1251717"/>
          <a:ext cx="8208963" cy="9997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CE7984-5B96-4733-BDE8-783134660DF8}">
      <dsp:nvSpPr>
        <dsp:cNvPr id="0" name=""/>
        <dsp:cNvSpPr/>
      </dsp:nvSpPr>
      <dsp:spPr>
        <a:xfrm>
          <a:off x="302438" y="1476671"/>
          <a:ext cx="549887" cy="54988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61257AD-307F-460E-96A3-9518699BC5F7}">
      <dsp:nvSpPr>
        <dsp:cNvPr id="0" name=""/>
        <dsp:cNvSpPr/>
      </dsp:nvSpPr>
      <dsp:spPr>
        <a:xfrm>
          <a:off x="1154764" y="1251717"/>
          <a:ext cx="7054198" cy="9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5812" tIns="105812" rIns="105812" bIns="10581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i="1" kern="1200" dirty="0"/>
            <a:t>Related Terminology</a:t>
          </a:r>
          <a:endParaRPr lang="en-US" sz="2200" kern="1200" dirty="0"/>
        </a:p>
      </dsp:txBody>
      <dsp:txXfrm>
        <a:off x="1154764" y="1251717"/>
        <a:ext cx="7054198" cy="999796"/>
      </dsp:txXfrm>
    </dsp:sp>
    <dsp:sp modelId="{AB541E75-6B5A-4EC8-AF24-0671B016A635}">
      <dsp:nvSpPr>
        <dsp:cNvPr id="0" name=""/>
        <dsp:cNvSpPr/>
      </dsp:nvSpPr>
      <dsp:spPr>
        <a:xfrm>
          <a:off x="0" y="2501463"/>
          <a:ext cx="8208963" cy="9997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C20C652-A6EF-44D2-BE24-EFAB29822F67}">
      <dsp:nvSpPr>
        <dsp:cNvPr id="0" name=""/>
        <dsp:cNvSpPr/>
      </dsp:nvSpPr>
      <dsp:spPr>
        <a:xfrm>
          <a:off x="302438" y="2726417"/>
          <a:ext cx="549887" cy="54988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8B61E9-C5EE-43C9-A4EF-AFAC17CCAAF5}">
      <dsp:nvSpPr>
        <dsp:cNvPr id="0" name=""/>
        <dsp:cNvSpPr/>
      </dsp:nvSpPr>
      <dsp:spPr>
        <a:xfrm>
          <a:off x="1154764" y="2501463"/>
          <a:ext cx="7054198" cy="9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5812" tIns="105812" rIns="105812" bIns="10581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i="1" kern="1200" dirty="0"/>
            <a:t>Test Flow</a:t>
          </a:r>
          <a:endParaRPr lang="en-US" sz="2200" kern="1200" dirty="0"/>
        </a:p>
      </dsp:txBody>
      <dsp:txXfrm>
        <a:off x="1154764" y="2501463"/>
        <a:ext cx="7054198" cy="999796"/>
      </dsp:txXfrm>
    </dsp:sp>
    <dsp:sp modelId="{71681EA1-041A-43C4-87D4-439280B0CA1E}">
      <dsp:nvSpPr>
        <dsp:cNvPr id="0" name=""/>
        <dsp:cNvSpPr/>
      </dsp:nvSpPr>
      <dsp:spPr>
        <a:xfrm>
          <a:off x="0" y="3751208"/>
          <a:ext cx="8208963" cy="99979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742685-FB22-4AAF-AC62-54B98C1E933D}">
      <dsp:nvSpPr>
        <dsp:cNvPr id="0" name=""/>
        <dsp:cNvSpPr/>
      </dsp:nvSpPr>
      <dsp:spPr>
        <a:xfrm>
          <a:off x="302438" y="3976162"/>
          <a:ext cx="549887" cy="549887"/>
        </a:xfrm>
        <a:prstGeom prst="rect">
          <a:avLst/>
        </a:prstGeom>
        <a:blipFill rotWithShape="1"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3E891A4-B387-4A5B-8D73-1EC8EAC7F923}">
      <dsp:nvSpPr>
        <dsp:cNvPr id="0" name=""/>
        <dsp:cNvSpPr/>
      </dsp:nvSpPr>
      <dsp:spPr>
        <a:xfrm>
          <a:off x="1154764" y="3751208"/>
          <a:ext cx="7054198" cy="999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5812" tIns="105812" rIns="105812" bIns="10581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i="1" kern="1200" dirty="0"/>
            <a:t>Example Demo</a:t>
          </a:r>
          <a:endParaRPr lang="en-US" sz="2200" kern="1200" dirty="0"/>
        </a:p>
      </dsp:txBody>
      <dsp:txXfrm>
        <a:off x="1154764" y="3751208"/>
        <a:ext cx="7054198" cy="9997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8505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F6DF464-179F-40F5-9EDF-A750C97A71D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7951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389AE9-86B3-4232-86EE-F3C375D6839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2937" y="1"/>
            <a:ext cx="3077951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990BBD-C7D8-4587-884D-5ACB839DE0AB}" type="datetimeFigureOut">
              <a:rPr lang="en-US" smtClean="0"/>
              <a:t>7/20/2021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0915CAE-05B0-4027-BF52-C3A2ED17683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247775" y="1279525"/>
            <a:ext cx="4606925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2B23B8B-8B27-4F86-9311-B85176D2A8F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931" y="4926014"/>
            <a:ext cx="5682615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F7AC714-8C4B-4C31-BD44-6ABFC8633FB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1"/>
            <a:ext cx="3077951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CC7C316-64C0-4B51-BCAF-6FFDE42564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2937" y="9721851"/>
            <a:ext cx="3077951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097D18-E213-447C-BBAD-1686352D0FA7}" type="slidenum">
              <a:rPr lang="en-US" smtClean="0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3613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4075" y="814388"/>
            <a:ext cx="5241925" cy="3932237"/>
          </a:xfrm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3.wmf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2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customXml" Target="../../customXml/item1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customXml" Target="../../customXml/item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customXml" Target="../../customXml/item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customXml" Target="../../customXml/item21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4" Type="http://schemas.openxmlformats.org/officeDocument/2006/relationships/tags" Target="../tags/tag6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customXml" Target="../../customXml/item19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customXml" Target="../../customXml/item1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customXml" Target="../../customXml/item1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4.xml"/><Relationship Id="rId4" Type="http://schemas.openxmlformats.org/officeDocument/2006/relationships/tags" Target="../tags/tag7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customXml" Target="../../customXml/item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2" Type="http://schemas.openxmlformats.org/officeDocument/2006/relationships/tags" Target="../tags/tag79.xml"/><Relationship Id="rId1" Type="http://schemas.openxmlformats.org/officeDocument/2006/relationships/customXml" Target="../../customXml/item5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4" Type="http://schemas.openxmlformats.org/officeDocument/2006/relationships/tags" Target="../tags/tag8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3.w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9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4" Type="http://schemas.openxmlformats.org/officeDocument/2006/relationships/image" Target="../media/image3.w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customXml" Target="../../customXml/item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customXml" Target="../../customXml/item1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customXml" Target="../../customXml/item12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customXml" Target="../../customXml/item9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538530" y="435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5" name="cdtText Box 101 Id16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57200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sp>
        <p:nvSpPr>
          <p:cNvPr id="6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538530" y="599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URL</a:t>
            </a:r>
          </a:p>
        </p:txBody>
      </p:sp>
      <p:sp>
        <p:nvSpPr>
          <p:cNvPr id="7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538530" y="599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/>
              <a:t>Please insert Restrictedity note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000" y="324000"/>
            <a:ext cx="2160000" cy="913804"/>
          </a:xfrm>
          <a:prstGeom prst="rect">
            <a:avLst/>
          </a:prstGeom>
        </p:spPr>
      </p:pic>
      <p:grpSp>
        <p:nvGrpSpPr>
          <p:cNvPr id="29" name="Gruppieren 28"/>
          <p:cNvGrpSpPr/>
          <p:nvPr userDrawn="1"/>
        </p:nvGrpSpPr>
        <p:grpSpPr>
          <a:xfrm>
            <a:off x="-216000" y="-216000"/>
            <a:ext cx="9576000" cy="7290000"/>
            <a:chOff x="-216000" y="-216000"/>
            <a:chExt cx="9576000" cy="7290000"/>
          </a:xfrm>
        </p:grpSpPr>
        <p:sp>
          <p:nvSpPr>
            <p:cNvPr id="30" name="cdtText Box 101 Id31"/>
            <p:cNvSpPr txBox="1"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auto">
            <a:xfrm>
              <a:off x="4572000" y="-216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>
                <a:buClrTx/>
                <a:buFontTx/>
                <a:buNone/>
              </a:pPr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31" name="Gerade Verbindung 30"/>
            <p:cNvCxnSpPr/>
            <p:nvPr userDrawn="1"/>
          </p:nvCxnSpPr>
          <p:spPr bwMode="auto">
            <a:xfrm rot="5400000">
              <a:off x="9270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 userDrawn="1"/>
          </p:nvCxnSpPr>
          <p:spPr bwMode="auto">
            <a:xfrm rot="5400000">
              <a:off x="-126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 userDrawn="1"/>
          </p:nvCxnSpPr>
          <p:spPr bwMode="auto">
            <a:xfrm>
              <a:off x="53921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 userDrawn="1"/>
          </p:nvCxnSpPr>
          <p:spPr bwMode="auto">
            <a:xfrm>
              <a:off x="4568474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47164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87487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 rot="5400000">
              <a:off x="9270000" y="8910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 rot="5400000">
              <a:off x="9270000" y="132287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9270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9270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9270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-126000" y="132287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-126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-126000" y="376651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 rot="5400000">
              <a:off x="-126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7" name="cdtText Box 101 Id31"/>
            <p:cNvSpPr txBox="1"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auto">
            <a:xfrm>
              <a:off x="4572000" y="6894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>
                <a:buClrTx/>
                <a:buFontTx/>
                <a:buNone/>
              </a:pPr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48" name="Gerade Verbindung 47"/>
            <p:cNvCxnSpPr/>
            <p:nvPr userDrawn="1"/>
          </p:nvCxnSpPr>
          <p:spPr bwMode="auto">
            <a:xfrm>
              <a:off x="53921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4568474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47164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87487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257235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Titelmasterformat durch Klicken bearbeiten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539750" y="1412875"/>
            <a:ext cx="403225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lang="de-DE" noProof="0" dirty="0" smtClean="0">
                <a:solidFill>
                  <a:schemeClr val="tx1"/>
                </a:solidFill>
              </a:defRPr>
            </a:lvl2pPr>
            <a:lvl3pPr>
              <a:defRPr lang="de-DE" noProof="0" dirty="0" smtClean="0"/>
            </a:lvl3pPr>
            <a:lvl4pPr>
              <a:defRPr lang="de-DE" noProof="0" dirty="0" smtClean="0">
                <a:solidFill>
                  <a:schemeClr val="tx1"/>
                </a:solidFill>
              </a:defRPr>
            </a:lvl4pPr>
            <a:lvl5pPr>
              <a:defRPr lang="de-DE" noProof="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lvl="2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lvl="3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lvl="4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4716463" y="1412875"/>
            <a:ext cx="403225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noProof="0" dirty="0" smtClean="0">
                <a:solidFill>
                  <a:schemeClr val="tx1"/>
                </a:solidFill>
              </a:defRPr>
            </a:lvl2pPr>
            <a:lvl3pPr>
              <a:defRPr lang="de-DE" noProof="0" dirty="0" smtClean="0">
                <a:solidFill>
                  <a:schemeClr val="tx1"/>
                </a:solidFill>
              </a:defRPr>
            </a:lvl3pPr>
            <a:lvl4pPr>
              <a:defRPr lang="de-DE" noProof="0" dirty="0" smtClean="0">
                <a:solidFill>
                  <a:schemeClr val="tx1"/>
                </a:solidFill>
              </a:defRPr>
            </a:lvl4pPr>
            <a:lvl5pPr>
              <a:defRPr lang="de-DE" noProof="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lvl="2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lvl="3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lvl="4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661430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539750" y="1412875"/>
            <a:ext cx="403225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lang="de-DE" noProof="0" dirty="0" smtClean="0">
                <a:solidFill>
                  <a:schemeClr val="tx1"/>
                </a:solidFill>
              </a:defRPr>
            </a:lvl2pPr>
            <a:lvl3pPr>
              <a:defRPr lang="de-DE" noProof="0" dirty="0" smtClean="0"/>
            </a:lvl3pPr>
            <a:lvl4pPr>
              <a:defRPr lang="de-DE" noProof="0" dirty="0" smtClean="0">
                <a:solidFill>
                  <a:schemeClr val="tx1"/>
                </a:solidFill>
              </a:defRPr>
            </a:lvl4pPr>
            <a:lvl5pPr>
              <a:defRPr lang="de-DE" noProof="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lvl="2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lvl="3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lvl="4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4716713" y="1412873"/>
            <a:ext cx="4032000" cy="2303466"/>
          </a:xfrm>
        </p:spPr>
        <p:txBody>
          <a:bodyPr tIns="360000"/>
          <a:lstStyle>
            <a:lvl1pPr algn="ctr">
              <a:defRPr/>
            </a:lvl1pPr>
          </a:lstStyle>
          <a:p>
            <a:endParaRPr lang="fr-FR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4716713" y="3860800"/>
            <a:ext cx="4032000" cy="2305050"/>
          </a:xfrm>
        </p:spPr>
        <p:txBody>
          <a:bodyPr tIns="360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501986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 te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5"/>
            <a:ext cx="8208963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539750" y="3860800"/>
            <a:ext cx="8208963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5"/>
            <a:ext cx="259200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276000" y="1412875"/>
            <a:ext cx="2735862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156325" y="1412875"/>
            <a:ext cx="2592388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Titelmasterformat durch Klicken bearbeiten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539750" y="1412876"/>
            <a:ext cx="4032250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lang="de-DE" noProof="0" dirty="0" smtClean="0">
                <a:solidFill>
                  <a:schemeClr val="tx1"/>
                </a:solidFill>
              </a:defRPr>
            </a:lvl2pPr>
            <a:lvl3pPr>
              <a:defRPr lang="de-DE" noProof="0" dirty="0" smtClean="0">
                <a:solidFill>
                  <a:schemeClr val="tx1"/>
                </a:solidFill>
              </a:defRPr>
            </a:lvl3pPr>
            <a:lvl4pPr>
              <a:defRPr lang="de-DE" noProof="0" dirty="0" smtClean="0">
                <a:solidFill>
                  <a:schemeClr val="tx1"/>
                </a:solidFill>
              </a:defRPr>
            </a:lvl4pPr>
            <a:lvl5pPr>
              <a:defRPr lang="de-DE" noProof="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lvl="2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lvl="3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lvl="4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4716463" y="1412875"/>
            <a:ext cx="4032250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2pPr>
            <a:lvl3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3pPr>
            <a:lvl4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4pPr>
            <a:lvl5pPr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lvl="2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lvl="3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lvl="4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539750" y="3933825"/>
            <a:ext cx="4032250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2pPr>
            <a:lvl3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3pPr>
            <a:lvl4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4pPr>
            <a:lvl5pPr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lvl="2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lvl="3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lvl="4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4716463" y="3933825"/>
            <a:ext cx="4032250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2pPr>
            <a:lvl3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3pPr>
            <a:lvl4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4pPr>
            <a:lvl5pPr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lvl="2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lvl="3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lvl="4"/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510694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cdtTextplatzhalter 13 Id4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452714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5"/>
            <a:ext cx="676910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7452714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5"/>
            <a:ext cx="3309936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994149" y="1412875"/>
            <a:ext cx="3314701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452714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5"/>
            <a:ext cx="6769100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539750" y="3860800"/>
            <a:ext cx="6769100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452714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6"/>
            <a:ext cx="3312000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994147" y="1412875"/>
            <a:ext cx="3312000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539750" y="3860801"/>
            <a:ext cx="3312000" cy="230504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3994149" y="3860801"/>
            <a:ext cx="3312000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cdtTextplatzhalter 13 Id9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452714" y="1412875"/>
            <a:ext cx="1295998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dirty="0">
              <a:solidFill>
                <a:schemeClr val="tx1"/>
              </a:solidFill>
            </a:endParaRPr>
          </a:p>
        </p:txBody>
      </p:sp>
      <p:sp>
        <p:nvSpPr>
          <p:cNvPr id="4" name="cdtText Box 101 Id16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57200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000" y="324000"/>
            <a:ext cx="2160000" cy="913804"/>
          </a:xfrm>
          <a:prstGeom prst="rect">
            <a:avLst/>
          </a:prstGeom>
        </p:spPr>
      </p:pic>
      <p:sp>
        <p:nvSpPr>
          <p:cNvPr id="8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540000" y="435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540000" y="599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599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/>
              <a:t>Please insert Restrictedity note</a:t>
            </a:r>
            <a:endParaRPr lang="de-DE" dirty="0"/>
          </a:p>
        </p:txBody>
      </p:sp>
      <p:grpSp>
        <p:nvGrpSpPr>
          <p:cNvPr id="29" name="Gruppieren 28"/>
          <p:cNvGrpSpPr/>
          <p:nvPr userDrawn="1"/>
        </p:nvGrpSpPr>
        <p:grpSpPr>
          <a:xfrm>
            <a:off x="-216000" y="-216000"/>
            <a:ext cx="9576000" cy="7290000"/>
            <a:chOff x="-216000" y="-216000"/>
            <a:chExt cx="9576000" cy="7290000"/>
          </a:xfrm>
        </p:grpSpPr>
        <p:sp>
          <p:nvSpPr>
            <p:cNvPr id="30" name="cdtText Box 101 Id31"/>
            <p:cNvSpPr txBox="1"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auto">
            <a:xfrm>
              <a:off x="4572000" y="-216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>
                <a:buClrTx/>
                <a:buFontTx/>
                <a:buNone/>
              </a:pPr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31" name="Gerade Verbindung 30"/>
            <p:cNvCxnSpPr/>
            <p:nvPr userDrawn="1"/>
          </p:nvCxnSpPr>
          <p:spPr bwMode="auto">
            <a:xfrm rot="5400000">
              <a:off x="9270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 userDrawn="1"/>
          </p:nvCxnSpPr>
          <p:spPr bwMode="auto">
            <a:xfrm rot="5400000">
              <a:off x="-126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 userDrawn="1"/>
          </p:nvCxnSpPr>
          <p:spPr bwMode="auto">
            <a:xfrm>
              <a:off x="53921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 userDrawn="1"/>
          </p:nvCxnSpPr>
          <p:spPr bwMode="auto">
            <a:xfrm>
              <a:off x="4568474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47164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87487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 rot="5400000">
              <a:off x="9270000" y="8910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 rot="5400000">
              <a:off x="9270000" y="132287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9270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9270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9270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-126000" y="132287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-126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-126000" y="376651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 rot="5400000">
              <a:off x="-126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7" name="cdtText Box 101 Id31"/>
            <p:cNvSpPr txBox="1"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auto">
            <a:xfrm>
              <a:off x="4572000" y="6894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>
                <a:buClrTx/>
                <a:buFontTx/>
                <a:buNone/>
              </a:pPr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48" name="Gerade Verbindung 47"/>
            <p:cNvCxnSpPr/>
            <p:nvPr userDrawn="1"/>
          </p:nvCxnSpPr>
          <p:spPr bwMode="auto">
            <a:xfrm>
              <a:off x="53921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4568474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47164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87487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1978702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cdtRectangle 2 Id3"/>
          <p:cNvSpPr/>
          <p:nvPr userDrawn="1">
            <p:custDataLst>
              <p:tags r:id="rId1"/>
            </p:custDataLst>
          </p:nvPr>
        </p:nvSpPr>
        <p:spPr bwMode="auto">
          <a:xfrm>
            <a:off x="4716464" y="1412875"/>
            <a:ext cx="4427537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</p:txBody>
      </p:sp>
      <p:sp>
        <p:nvSpPr>
          <p:cNvPr id="6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716464" y="1412875"/>
            <a:ext cx="4427537" cy="4752976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>
                <a:solidFill>
                  <a:srgbClr val="000000"/>
                </a:solidFill>
              </a:defRPr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>
                <a:solidFill>
                  <a:srgbClr val="000000"/>
                </a:solidFill>
              </a:defRPr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 baseline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dirty="0"/>
              <a:t>Click to edit the </a:t>
            </a:r>
            <a:r>
              <a:rPr lang="en-US" dirty="0" err="1"/>
              <a:t>toc</a:t>
            </a:r>
            <a:r>
              <a:rPr lang="en-US" dirty="0"/>
              <a:t> / contact</a:t>
            </a:r>
          </a:p>
          <a:p>
            <a:pPr lvl="1"/>
            <a:r>
              <a:rPr lang="en-US" dirty="0"/>
              <a:t>chapter</a:t>
            </a:r>
          </a:p>
          <a:p>
            <a:pPr lvl="2"/>
            <a:r>
              <a:rPr lang="en-US" dirty="0"/>
              <a:t>active chapter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000" y="324000"/>
            <a:ext cx="1584000" cy="670123"/>
          </a:xfrm>
          <a:prstGeom prst="rect">
            <a:avLst/>
          </a:prstGeom>
        </p:spPr>
      </p:pic>
      <p:sp>
        <p:nvSpPr>
          <p:cNvPr id="10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2875"/>
            <a:ext cx="4572000" cy="4752975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430616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cdtRectangle 2 Id3"/>
          <p:cNvSpPr/>
          <p:nvPr userDrawn="1">
            <p:custDataLst>
              <p:tags r:id="rId1"/>
            </p:custDataLst>
          </p:nvPr>
        </p:nvSpPr>
        <p:spPr bwMode="auto">
          <a:xfrm>
            <a:off x="4716464" y="1412875"/>
            <a:ext cx="4427537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</p:txBody>
      </p:sp>
      <p:sp>
        <p:nvSpPr>
          <p:cNvPr id="5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716464" y="1412877"/>
            <a:ext cx="4427537" cy="4752974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>
                <a:solidFill>
                  <a:srgbClr val="000000"/>
                </a:solidFill>
              </a:defRPr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>
                <a:solidFill>
                  <a:srgbClr val="000000"/>
                </a:solidFill>
              </a:defRPr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 baseline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dirty="0"/>
              <a:t>Click to edit the </a:t>
            </a:r>
            <a:r>
              <a:rPr lang="en-US" dirty="0" err="1"/>
              <a:t>toc</a:t>
            </a:r>
            <a:r>
              <a:rPr lang="en-US" dirty="0"/>
              <a:t> / contact</a:t>
            </a:r>
          </a:p>
          <a:p>
            <a:pPr lvl="1"/>
            <a:r>
              <a:rPr lang="en-US" dirty="0"/>
              <a:t>chapter</a:t>
            </a:r>
          </a:p>
          <a:p>
            <a:pPr lvl="2"/>
            <a:r>
              <a:rPr lang="en-US" dirty="0"/>
              <a:t>active chapter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2875"/>
            <a:ext cx="4572000" cy="4752975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255352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39750" y="1412875"/>
            <a:ext cx="4032250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cdtText Placehold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716464" y="1412875"/>
            <a:ext cx="4427537" cy="4752975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>
                <a:solidFill>
                  <a:srgbClr val="000000"/>
                </a:solidFill>
              </a:defRPr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>
                <a:solidFill>
                  <a:srgbClr val="000000"/>
                </a:solidFill>
              </a:defRPr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 baseline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dirty="0"/>
              <a:t>Click to edit the </a:t>
            </a:r>
            <a:r>
              <a:rPr lang="en-US" dirty="0" err="1"/>
              <a:t>toc</a:t>
            </a:r>
            <a:r>
              <a:rPr lang="en-US" dirty="0"/>
              <a:t> / contact</a:t>
            </a:r>
          </a:p>
          <a:p>
            <a:pPr lvl="1"/>
            <a:r>
              <a:rPr lang="en-US" dirty="0"/>
              <a:t>chapter</a:t>
            </a:r>
          </a:p>
          <a:p>
            <a:pPr lvl="2"/>
            <a:r>
              <a:rPr lang="en-US" dirty="0"/>
              <a:t>active chapter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>
            <a:lvl1pPr>
              <a:defRPr lang="de-DE" noProof="0" dirty="0"/>
            </a:lvl1pPr>
          </a:lstStyle>
          <a:p>
            <a:pPr lvl="0"/>
            <a:r>
              <a:rPr lang="de-DE" dirty="0"/>
              <a:t>Titelmasterformat durch Klicken bearbeiten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709844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5"/>
            <a:ext cx="9144000" cy="4752975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114499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5"/>
            <a:ext cx="9144000" cy="5445125"/>
          </a:xfrm>
        </p:spPr>
        <p:txBody>
          <a:bodyPr tIns="2160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282447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1" y="1412873"/>
            <a:ext cx="8208963" cy="47529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5"/>
            <a:ext cx="676910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6.xml"/><Relationship Id="rId39" Type="http://schemas.openxmlformats.org/officeDocument/2006/relationships/tags" Target="../tags/tag19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34" Type="http://schemas.openxmlformats.org/officeDocument/2006/relationships/tags" Target="../tags/tag14.xml"/><Relationship Id="rId42" Type="http://schemas.openxmlformats.org/officeDocument/2006/relationships/tags" Target="../tags/tag22.xml"/><Relationship Id="rId47" Type="http://schemas.openxmlformats.org/officeDocument/2006/relationships/tags" Target="../tags/tag27.xml"/><Relationship Id="rId50" Type="http://schemas.openxmlformats.org/officeDocument/2006/relationships/tags" Target="../tags/tag3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33" Type="http://schemas.openxmlformats.org/officeDocument/2006/relationships/tags" Target="../tags/tag13.xml"/><Relationship Id="rId38" Type="http://schemas.openxmlformats.org/officeDocument/2006/relationships/tags" Target="../tags/tag18.xml"/><Relationship Id="rId46" Type="http://schemas.openxmlformats.org/officeDocument/2006/relationships/tags" Target="../tags/tag2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9.xml"/><Relationship Id="rId41" Type="http://schemas.openxmlformats.org/officeDocument/2006/relationships/tags" Target="../tags/tag2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32" Type="http://schemas.openxmlformats.org/officeDocument/2006/relationships/tags" Target="../tags/tag12.xml"/><Relationship Id="rId37" Type="http://schemas.openxmlformats.org/officeDocument/2006/relationships/tags" Target="../tags/tag17.xml"/><Relationship Id="rId40" Type="http://schemas.openxmlformats.org/officeDocument/2006/relationships/tags" Target="../tags/tag20.xml"/><Relationship Id="rId45" Type="http://schemas.openxmlformats.org/officeDocument/2006/relationships/tags" Target="../tags/tag2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tags" Target="../tags/tag8.xml"/><Relationship Id="rId36" Type="http://schemas.openxmlformats.org/officeDocument/2006/relationships/tags" Target="../tags/tag16.xml"/><Relationship Id="rId49" Type="http://schemas.openxmlformats.org/officeDocument/2006/relationships/tags" Target="../tags/tag2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1.xml"/><Relationship Id="rId44" Type="http://schemas.openxmlformats.org/officeDocument/2006/relationships/tags" Target="../tags/tag24.xml"/><Relationship Id="rId52" Type="http://schemas.openxmlformats.org/officeDocument/2006/relationships/image" Target="../media/image1.w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tags" Target="../tags/tag10.xml"/><Relationship Id="rId35" Type="http://schemas.openxmlformats.org/officeDocument/2006/relationships/tags" Target="../tags/tag15.xml"/><Relationship Id="rId43" Type="http://schemas.openxmlformats.org/officeDocument/2006/relationships/tags" Target="../tags/tag23.xml"/><Relationship Id="rId48" Type="http://schemas.openxmlformats.org/officeDocument/2006/relationships/tags" Target="../tags/tag2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dtRectangle 12 Id7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0" y="0"/>
            <a:ext cx="914400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de-DE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23"/>
            </p:custDataLst>
          </p:nvPr>
        </p:nvSpPr>
        <p:spPr bwMode="auto">
          <a:xfrm>
            <a:off x="539751" y="1412873"/>
            <a:ext cx="8208963" cy="4752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24"/>
            </p:custDataLst>
          </p:nvPr>
        </p:nvSpPr>
        <p:spPr bwMode="auto">
          <a:xfrm>
            <a:off x="0" y="0"/>
            <a:ext cx="914400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cxnSp>
        <p:nvCxnSpPr>
          <p:cNvPr id="29" name="cdtMasterTags_CL1 Id29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cdtMasterTags_CL2 Id30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2" name="cdtMasterTags_CL3 Id3072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4 Id3073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5 Id3074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6 Id3075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7 Id3076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8 Id3077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9 Id3080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10 Id3081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11 Id3082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2 Id3083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3 Id3084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4 Id3085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5 Id3086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6 Id3087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7 Id3088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8 Id3089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9 Id3090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20 Id3091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52"/>
          <a:srcRect/>
          <a:stretch>
            <a:fillRect/>
          </a:stretch>
        </p:blipFill>
        <p:spPr bwMode="auto">
          <a:xfrm>
            <a:off x="7163880" y="324000"/>
            <a:ext cx="1584834" cy="670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uppieren 1"/>
          <p:cNvGrpSpPr/>
          <p:nvPr/>
        </p:nvGrpSpPr>
        <p:grpSpPr>
          <a:xfrm>
            <a:off x="-216000" y="-216000"/>
            <a:ext cx="9576000" cy="7290000"/>
            <a:chOff x="-216000" y="-216000"/>
            <a:chExt cx="9576000" cy="7290000"/>
          </a:xfrm>
        </p:grpSpPr>
        <p:sp>
          <p:nvSpPr>
            <p:cNvPr id="31" name="cdtText Box 101 Id31"/>
            <p:cNvSpPr txBox="1">
              <a:spLocks noChangeArrowheads="1"/>
            </p:cNvSpPr>
            <p:nvPr userDrawn="1">
              <p:custDataLst>
                <p:tags r:id="rId50"/>
              </p:custDataLst>
            </p:nvPr>
          </p:nvSpPr>
          <p:spPr bwMode="auto">
            <a:xfrm>
              <a:off x="4572000" y="-216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>
                <a:buClrTx/>
                <a:buFontTx/>
                <a:buNone/>
              </a:pPr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37" name="Gerade Verbindung 36"/>
            <p:cNvCxnSpPr/>
            <p:nvPr userDrawn="1"/>
          </p:nvCxnSpPr>
          <p:spPr bwMode="auto">
            <a:xfrm rot="5400000">
              <a:off x="9270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53921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4568474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47164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7487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9270000" y="8910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9270000" y="132287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9270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9270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9270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132287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-126000" y="376651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-126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4" name="cdtText Box 101 Id31"/>
            <p:cNvSpPr txBox="1">
              <a:spLocks noChangeArrowheads="1"/>
            </p:cNvSpPr>
            <p:nvPr userDrawn="1">
              <p:custDataLst>
                <p:tags r:id="rId51"/>
              </p:custDataLst>
            </p:nvPr>
          </p:nvSpPr>
          <p:spPr bwMode="auto">
            <a:xfrm>
              <a:off x="4572000" y="6894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>
                <a:buClrTx/>
                <a:buFontTx/>
                <a:buNone/>
              </a:pPr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57" name="Gerade Verbindung 56"/>
            <p:cNvCxnSpPr/>
            <p:nvPr userDrawn="1"/>
          </p:nvCxnSpPr>
          <p:spPr bwMode="auto">
            <a:xfrm>
              <a:off x="53921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4568474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47164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7487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5" name="cdtTextBox 12 Id13"/>
          <p:cNvSpPr txBox="1"/>
          <p:nvPr>
            <p:custDataLst>
              <p:tags r:id="rId46"/>
            </p:custDataLst>
          </p:nvPr>
        </p:nvSpPr>
        <p:spPr>
          <a:xfrm>
            <a:off x="0" y="6598800"/>
            <a:ext cx="2549519" cy="259200"/>
          </a:xfrm>
          <a:prstGeom prst="rect">
            <a:avLst/>
          </a:prstGeom>
          <a:noFill/>
        </p:spPr>
        <p:txBody>
          <a:bodyPr wrap="square" lIns="147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0" noProof="0" dirty="0">
              <a:solidFill>
                <a:srgbClr val="000000"/>
              </a:solidFill>
            </a:endParaRPr>
          </a:p>
        </p:txBody>
      </p:sp>
      <p:sp>
        <p:nvSpPr>
          <p:cNvPr id="61" name="cdtText Box 133 Id9"/>
          <p:cNvSpPr txBox="1">
            <a:spLocks noChangeArrowheads="1"/>
          </p:cNvSpPr>
          <p:nvPr>
            <p:custDataLst>
              <p:tags r:id="rId47"/>
            </p:custDataLst>
          </p:nvPr>
        </p:nvSpPr>
        <p:spPr bwMode="auto">
          <a:xfrm>
            <a:off x="0" y="6165850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r>
              <a:rPr lang="de-DE" sz="1000" b="1">
                <a:solidFill>
                  <a:srgbClr val="879BAA"/>
                </a:solidFill>
              </a:rPr>
              <a:t>Restricted © Siemens AG 2020</a:t>
            </a:r>
            <a:endParaRPr lang="de-DE" sz="1000" b="1" dirty="0">
              <a:solidFill>
                <a:srgbClr val="879BAA"/>
              </a:solidFill>
            </a:endParaRPr>
          </a:p>
        </p:txBody>
      </p:sp>
      <p:sp>
        <p:nvSpPr>
          <p:cNvPr id="71" name="cdtTextBox 11 Id12"/>
          <p:cNvSpPr txBox="1"/>
          <p:nvPr>
            <p:custDataLst>
              <p:tags r:id="rId48"/>
            </p:custDataLst>
          </p:nvPr>
        </p:nvSpPr>
        <p:spPr>
          <a:xfrm>
            <a:off x="-1" y="6598800"/>
            <a:ext cx="1393200" cy="259200"/>
          </a:xfrm>
          <a:prstGeom prst="rect">
            <a:avLst/>
          </a:prstGeom>
          <a:noFill/>
        </p:spPr>
        <p:txBody>
          <a:bodyPr wrap="square" lIns="5400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>
              <a:solidFill>
                <a:srgbClr val="000000"/>
              </a:solidFill>
            </a:endParaRPr>
          </a:p>
        </p:txBody>
      </p:sp>
      <p:sp>
        <p:nvSpPr>
          <p:cNvPr id="72" name="cdtTextBox 13 Id14"/>
          <p:cNvSpPr txBox="1"/>
          <p:nvPr>
            <p:custDataLst>
              <p:tags r:id="rId49"/>
            </p:custDataLst>
          </p:nvPr>
        </p:nvSpPr>
        <p:spPr>
          <a:xfrm>
            <a:off x="2693979" y="6598800"/>
            <a:ext cx="6450020" cy="259200"/>
          </a:xfrm>
          <a:prstGeom prst="rect">
            <a:avLst/>
          </a:prstGeom>
          <a:noFill/>
        </p:spPr>
        <p:txBody>
          <a:bodyPr wrap="square" lIns="0" tIns="0" rIns="3960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>
                <a:solidFill>
                  <a:srgbClr val="000000"/>
                </a:solidFill>
              </a:rPr>
              <a:t>TIP SAT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0" r:id="rId3"/>
    <p:sldLayoutId id="2147483679" r:id="rId4"/>
    <p:sldLayoutId id="2147483693" r:id="rId5"/>
    <p:sldLayoutId id="2147483702" r:id="rId6"/>
    <p:sldLayoutId id="2147483703" r:id="rId7"/>
    <p:sldLayoutId id="2147483670" r:id="rId8"/>
    <p:sldLayoutId id="2147483692" r:id="rId9"/>
    <p:sldLayoutId id="2147483694" r:id="rId10"/>
    <p:sldLayoutId id="2147483704" r:id="rId11"/>
    <p:sldLayoutId id="2147483683" r:id="rId12"/>
    <p:sldLayoutId id="2147483681" r:id="rId13"/>
    <p:sldLayoutId id="2147483695" r:id="rId14"/>
    <p:sldLayoutId id="2147483691" r:id="rId15"/>
    <p:sldLayoutId id="2147483684" r:id="rId16"/>
    <p:sldLayoutId id="2147483685" r:id="rId17"/>
    <p:sldLayoutId id="2147483686" r:id="rId18"/>
    <p:sldLayoutId id="2147483688" r:id="rId19"/>
    <p:sldLayoutId id="2147483701" r:id="rId20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pypi.org/project/pactman/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4" Type="http://schemas.openxmlformats.org/officeDocument/2006/relationships/hyperlink" Target="http://139.24.139.214:50010/_pact/provider_states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mailto:Abhinandan.Bhadauria@siemens.com" TargetMode="External"/><Relationship Id="rId3" Type="http://schemas.openxmlformats.org/officeDocument/2006/relationships/tags" Target="../tags/tag89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91.xml"/><Relationship Id="rId4" Type="http://schemas.openxmlformats.org/officeDocument/2006/relationships/tags" Target="../tags/tag90.xml"/><Relationship Id="rId9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38530" y="4937176"/>
            <a:ext cx="6697840" cy="955319"/>
          </a:xfrm>
        </p:spPr>
        <p:txBody>
          <a:bodyPr/>
          <a:lstStyle/>
          <a:p>
            <a:r>
              <a:rPr lang="en-US" sz="2400" b="0" noProof="0" dirty="0"/>
              <a:t>Contract Testing</a:t>
            </a:r>
            <a:br>
              <a:rPr lang="en-US" sz="2400" b="0" noProof="0" dirty="0"/>
            </a:br>
            <a:r>
              <a:rPr lang="en-US" sz="1800" b="0" noProof="0" dirty="0"/>
              <a:t>An Introduction</a:t>
            </a:r>
            <a:endParaRPr lang="en-US" sz="2000" b="0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568640" y="5948714"/>
            <a:ext cx="6667730" cy="324000"/>
          </a:xfrm>
        </p:spPr>
        <p:txBody>
          <a:bodyPr/>
          <a:lstStyle/>
          <a:p>
            <a:r>
              <a:rPr lang="en-US" noProof="0" dirty="0"/>
              <a:t>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Abhinandan Bhadauria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624C374-641C-405B-9707-948F04F1BD3B}"/>
              </a:ext>
            </a:extLst>
          </p:cNvPr>
          <p:cNvSpPr/>
          <p:nvPr/>
        </p:nvSpPr>
        <p:spPr bwMode="auto">
          <a:xfrm>
            <a:off x="0" y="6652933"/>
            <a:ext cx="1270000" cy="156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000" b="1">
                <a:solidFill>
                  <a:srgbClr val="000000"/>
                </a:solidFill>
              </a:rPr>
              <a:t>Restricted</a:t>
            </a:r>
            <a:endParaRPr lang="en-US" sz="1000" b="1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8636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D542D9-A112-4D0F-9C43-D34D254CE0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68413"/>
          </a:xfrm>
        </p:spPr>
        <p:txBody>
          <a:bodyPr wrap="square" anchor="b">
            <a:normAutofit/>
          </a:bodyPr>
          <a:lstStyle/>
          <a:p>
            <a:r>
              <a:rPr lang="en-US" dirty="0"/>
              <a:t>Demo Setup - python</a:t>
            </a:r>
            <a:endParaRPr lang="en-US" b="0" dirty="0"/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B9F55577-6D50-458D-9249-93215A6B74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74480"/>
            <a:ext cx="9144000" cy="2674620"/>
          </a:xfrm>
          <a:prstGeom prst="rect">
            <a:avLst/>
          </a:prstGeom>
          <a:noFill/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3A08527-0890-4BE8-9CE1-3602E6FD2CA6}"/>
              </a:ext>
            </a:extLst>
          </p:cNvPr>
          <p:cNvSpPr txBox="1"/>
          <p:nvPr/>
        </p:nvSpPr>
        <p:spPr>
          <a:xfrm>
            <a:off x="323410" y="4355166"/>
            <a:ext cx="8641200" cy="19542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</a:rPr>
              <a:t>Python provides </a:t>
            </a:r>
            <a:r>
              <a:rPr lang="en-US" sz="1200" dirty="0" err="1">
                <a:solidFill>
                  <a:schemeClr val="tx1"/>
                </a:solidFill>
              </a:rPr>
              <a:t>pactman</a:t>
            </a:r>
            <a:r>
              <a:rPr lang="en-US" sz="1200" dirty="0">
                <a:solidFill>
                  <a:schemeClr val="tx1"/>
                </a:solidFill>
              </a:rPr>
              <a:t> library: </a:t>
            </a:r>
            <a:r>
              <a:rPr lang="en-US" sz="1200" dirty="0">
                <a:solidFill>
                  <a:schemeClr val="tx1"/>
                </a:solidFill>
                <a:hlinkClick r:id="rId3"/>
              </a:rPr>
              <a:t>https://pypi.org/project/pactman/</a:t>
            </a:r>
            <a:endParaRPr lang="en-US" sz="12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2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50" b="1" dirty="0">
                <a:solidFill>
                  <a:schemeClr val="tx1"/>
                </a:solidFill>
              </a:rPr>
              <a:t>Verify with container hostname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err="1">
                <a:solidFill>
                  <a:schemeClr val="tx1"/>
                </a:solidFill>
              </a:rPr>
              <a:t>pactman</a:t>
            </a:r>
            <a:r>
              <a:rPr lang="en-US" sz="1000" dirty="0">
                <a:solidFill>
                  <a:schemeClr val="tx1"/>
                </a:solidFill>
              </a:rPr>
              <a:t>-verifier -l Consumer-Provider-</a:t>
            </a:r>
            <a:r>
              <a:rPr lang="en-US" sz="1000" dirty="0" err="1">
                <a:solidFill>
                  <a:schemeClr val="tx1"/>
                </a:solidFill>
              </a:rPr>
              <a:t>pact.json</a:t>
            </a:r>
            <a:r>
              <a:rPr lang="en-US" sz="1000" dirty="0">
                <a:solidFill>
                  <a:schemeClr val="tx1"/>
                </a:solidFill>
              </a:rPr>
              <a:t> Provider http://provider-pact-demo:50010 http://provider-pact-demo:50010/_pact/provider_states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b="1" dirty="0">
                <a:solidFill>
                  <a:schemeClr val="tx1"/>
                </a:solidFill>
              </a:rPr>
              <a:t>Verify with host port mapping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err="1">
                <a:solidFill>
                  <a:schemeClr val="tx1"/>
                </a:solidFill>
              </a:rPr>
              <a:t>pactman</a:t>
            </a:r>
            <a:r>
              <a:rPr lang="en-US" sz="1000" dirty="0">
                <a:solidFill>
                  <a:schemeClr val="tx1"/>
                </a:solidFill>
              </a:rPr>
              <a:t>-verifier -l Consumer-Provider-</a:t>
            </a:r>
            <a:r>
              <a:rPr lang="en-US" sz="1000" dirty="0" err="1">
                <a:solidFill>
                  <a:schemeClr val="tx1"/>
                </a:solidFill>
              </a:rPr>
              <a:t>pact.json</a:t>
            </a:r>
            <a:r>
              <a:rPr lang="en-US" sz="1000" dirty="0">
                <a:solidFill>
                  <a:schemeClr val="tx1"/>
                </a:solidFill>
              </a:rPr>
              <a:t> Provider http://139.24.139.214:50010/ </a:t>
            </a:r>
            <a:r>
              <a:rPr lang="en-US" sz="1000" dirty="0">
                <a:solidFill>
                  <a:schemeClr val="tx1"/>
                </a:solidFill>
                <a:hlinkClick r:id="rId4"/>
              </a:rPr>
              <a:t>http://139.24.139.214:50010/_pact/provider_states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b="1" dirty="0">
                <a:solidFill>
                  <a:schemeClr val="tx1"/>
                </a:solidFill>
              </a:rPr>
              <a:t>Repository of the demo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>
                <a:solidFill>
                  <a:schemeClr val="tx1"/>
                </a:solidFill>
              </a:rPr>
              <a:t>https://code.siemens.com/sim-edge-agnostic/python-pact-demo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84921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2" name="cdtRectangle 4 Id10957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noProof="0" dirty="0"/>
              <a:t>Thank you!</a:t>
            </a:r>
          </a:p>
        </p:txBody>
      </p:sp>
      <p:sp>
        <p:nvSpPr>
          <p:cNvPr id="8" name="cdtText Placeholder 7 Id8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4823400" y="1504318"/>
            <a:ext cx="4213220" cy="1708652"/>
          </a:xfrm>
        </p:spPr>
        <p:txBody>
          <a:bodyPr/>
          <a:lstStyle/>
          <a:p>
            <a:r>
              <a:rPr lang="en-US" sz="1800" dirty="0"/>
              <a:t>Contact</a:t>
            </a:r>
            <a:endParaRPr lang="en-US" sz="1600" dirty="0"/>
          </a:p>
          <a:p>
            <a:r>
              <a:rPr lang="en-US" sz="1600" dirty="0"/>
              <a:t>Abhinandan Bhadauria</a:t>
            </a:r>
          </a:p>
          <a:p>
            <a:r>
              <a:rPr lang="en-US" sz="1600" dirty="0">
                <a:hlinkClick r:id="rId8"/>
              </a:rPr>
              <a:t>Abhinandan.Bhadauria@siemens.com</a:t>
            </a:r>
            <a:endParaRPr lang="en-US" sz="1600" dirty="0"/>
          </a:p>
          <a:p>
            <a:r>
              <a:rPr lang="en-US" sz="1600" dirty="0"/>
              <a:t>ADV D AA DDI HMI-RT EC-APPS </a:t>
            </a:r>
          </a:p>
        </p:txBody>
      </p:sp>
      <p:sp>
        <p:nvSpPr>
          <p:cNvPr id="3" name="cdtTextBox 2 Id3"/>
          <p:cNvSpPr txBox="1"/>
          <p:nvPr>
            <p:custDataLst>
              <p:tags r:id="rId4"/>
            </p:custDataLst>
          </p:nvPr>
        </p:nvSpPr>
        <p:spPr>
          <a:xfrm rot="16200000">
            <a:off x="9144000" y="5480569"/>
            <a:ext cx="1190" cy="1588"/>
          </a:xfrm>
          <a:prstGeom prst="rect">
            <a:avLst/>
          </a:prstGeom>
          <a:noFill/>
        </p:spPr>
        <p:txBody>
          <a:bodyPr wrap="none" lIns="53972" tIns="0" rIns="0" bIns="26986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450" dirty="0">
              <a:solidFill>
                <a:srgbClr val="000000"/>
              </a:solidFill>
            </a:endParaRPr>
          </a:p>
        </p:txBody>
      </p:sp>
      <p:sp>
        <p:nvSpPr>
          <p:cNvPr id="13" name="cdtTextBox 2 Id13"/>
          <p:cNvSpPr txBox="1"/>
          <p:nvPr>
            <p:custDataLst>
              <p:tags r:id="rId5"/>
            </p:custDataLst>
          </p:nvPr>
        </p:nvSpPr>
        <p:spPr>
          <a:xfrm rot="16200000">
            <a:off x="9144000" y="5480569"/>
            <a:ext cx="1190" cy="1190"/>
          </a:xfrm>
          <a:prstGeom prst="rect">
            <a:avLst/>
          </a:prstGeom>
          <a:noFill/>
        </p:spPr>
        <p:txBody>
          <a:bodyPr wrap="none" lIns="53972" tIns="0" rIns="0" bIns="26986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450" dirty="0">
              <a:solidFill>
                <a:srgbClr val="000000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9"/>
          <a:srcRect/>
          <a:stretch/>
        </p:blipFill>
        <p:spPr bwMode="auto">
          <a:xfrm>
            <a:off x="448" y="1944608"/>
            <a:ext cx="4027472" cy="3549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729534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2C40D0-BDFE-48F9-B052-31066372BC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68413"/>
          </a:xfrm>
        </p:spPr>
        <p:txBody>
          <a:bodyPr wrap="square" anchor="b">
            <a:normAutofit/>
          </a:bodyPr>
          <a:lstStyle/>
          <a:p>
            <a:r>
              <a:rPr lang="en-US"/>
              <a:t>Agenda</a:t>
            </a:r>
          </a:p>
        </p:txBody>
      </p:sp>
      <p:graphicFrame>
        <p:nvGraphicFramePr>
          <p:cNvPr id="11" name="Content Placeholder 2">
            <a:extLst>
              <a:ext uri="{FF2B5EF4-FFF2-40B4-BE49-F238E27FC236}">
                <a16:creationId xmlns:a16="http://schemas.microsoft.com/office/drawing/2014/main" id="{8B849C86-3188-48DE-89B2-1AFF23063D4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15307258"/>
              </p:ext>
            </p:extLst>
          </p:nvPr>
        </p:nvGraphicFramePr>
        <p:xfrm>
          <a:off x="539751" y="1412873"/>
          <a:ext cx="8208963" cy="47529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98652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FDB7A2C-213F-4EC3-95B3-01972DD0A83B}"/>
              </a:ext>
            </a:extLst>
          </p:cNvPr>
          <p:cNvSpPr/>
          <p:nvPr/>
        </p:nvSpPr>
        <p:spPr>
          <a:xfrm>
            <a:off x="467518" y="2750169"/>
            <a:ext cx="8208963" cy="1357661"/>
          </a:xfrm>
          <a:prstGeom prst="roundRect">
            <a:avLst>
              <a:gd name="adj" fmla="val 10000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44B8276-06B1-4CD5-BBEF-3F9AC614D32C}"/>
              </a:ext>
            </a:extLst>
          </p:cNvPr>
          <p:cNvGrpSpPr/>
          <p:nvPr/>
        </p:nvGrpSpPr>
        <p:grpSpPr>
          <a:xfrm>
            <a:off x="2035617" y="2750169"/>
            <a:ext cx="6640863" cy="1357661"/>
            <a:chOff x="1568099" y="580"/>
            <a:chExt cx="6640863" cy="1357661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C212E00-C27B-4F59-8CC2-5F345F5DA227}"/>
                </a:ext>
              </a:extLst>
            </p:cNvPr>
            <p:cNvSpPr/>
            <p:nvPr/>
          </p:nvSpPr>
          <p:spPr>
            <a:xfrm>
              <a:off x="1568099" y="580"/>
              <a:ext cx="6640863" cy="1357661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0B5402B-ABB6-48DA-8D66-38073BFE9A60}"/>
                </a:ext>
              </a:extLst>
            </p:cNvPr>
            <p:cNvSpPr txBox="1"/>
            <p:nvPr/>
          </p:nvSpPr>
          <p:spPr>
            <a:xfrm>
              <a:off x="1568099" y="580"/>
              <a:ext cx="6640863" cy="135766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3686" tIns="143686" rIns="143686" bIns="143686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i="1" kern="1200" dirty="0"/>
                <a:t>Introduction</a:t>
              </a:r>
              <a:endParaRPr lang="en-US" sz="2500" kern="1200" dirty="0"/>
            </a:p>
          </p:txBody>
        </p:sp>
      </p:grpSp>
      <p:sp>
        <p:nvSpPr>
          <p:cNvPr id="10" name="Rectangle 9" descr="Teacher">
            <a:extLst>
              <a:ext uri="{FF2B5EF4-FFF2-40B4-BE49-F238E27FC236}">
                <a16:creationId xmlns:a16="http://schemas.microsoft.com/office/drawing/2014/main" id="{D7EABC2E-D365-4815-805E-059F78D58093}"/>
              </a:ext>
            </a:extLst>
          </p:cNvPr>
          <p:cNvSpPr/>
          <p:nvPr/>
        </p:nvSpPr>
        <p:spPr>
          <a:xfrm>
            <a:off x="827480" y="3039493"/>
            <a:ext cx="792110" cy="779014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0146596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D542D9-A112-4D0F-9C43-D34D254CE0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68413"/>
          </a:xfrm>
        </p:spPr>
        <p:txBody>
          <a:bodyPr wrap="square" anchor="b">
            <a:normAutofit/>
          </a:bodyPr>
          <a:lstStyle/>
          <a:p>
            <a:r>
              <a:rPr lang="en-US" dirty="0"/>
              <a:t>Introduction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173B020F-4B24-48BA-859C-98641D3700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751" y="1808775"/>
            <a:ext cx="8208963" cy="3240450"/>
          </a:xfrm>
        </p:spPr>
        <p:txBody>
          <a:bodyPr/>
          <a:lstStyle/>
          <a:p>
            <a:endParaRPr lang="en-US" sz="1200" dirty="0"/>
          </a:p>
          <a:p>
            <a:r>
              <a:rPr lang="en-US" b="1" dirty="0"/>
              <a:t>What is Contract (or Pact) Testing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sting technique for testing endpoints (AP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imarily used for applications that are </a:t>
            </a:r>
            <a:r>
              <a:rPr lang="en-US" b="1" dirty="0"/>
              <a:t>isolated</a:t>
            </a:r>
            <a:r>
              <a:rPr lang="en-US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essages sent or received confirms that they are adhering to a written Pact or Contra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It’s Consumer driven</a:t>
            </a:r>
            <a:r>
              <a:rPr lang="en-US" dirty="0"/>
              <a:t>, means the API owner/provider cannot change the behavior before consumer adapts the new expectations.</a:t>
            </a:r>
          </a:p>
        </p:txBody>
      </p:sp>
    </p:spTree>
    <p:extLst>
      <p:ext uri="{BB962C8B-B14F-4D97-AF65-F5344CB8AC3E}">
        <p14:creationId xmlns:p14="http://schemas.microsoft.com/office/powerpoint/2010/main" val="23622695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FDB7A2C-213F-4EC3-95B3-01972DD0A83B}"/>
              </a:ext>
            </a:extLst>
          </p:cNvPr>
          <p:cNvSpPr/>
          <p:nvPr/>
        </p:nvSpPr>
        <p:spPr>
          <a:xfrm>
            <a:off x="467518" y="2750169"/>
            <a:ext cx="8208963" cy="1357661"/>
          </a:xfrm>
          <a:prstGeom prst="roundRect">
            <a:avLst>
              <a:gd name="adj" fmla="val 10000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44B8276-06B1-4CD5-BBEF-3F9AC614D32C}"/>
              </a:ext>
            </a:extLst>
          </p:cNvPr>
          <p:cNvGrpSpPr/>
          <p:nvPr/>
        </p:nvGrpSpPr>
        <p:grpSpPr>
          <a:xfrm>
            <a:off x="2035617" y="2750169"/>
            <a:ext cx="6640863" cy="1357661"/>
            <a:chOff x="1568099" y="580"/>
            <a:chExt cx="6640863" cy="1357661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C212E00-C27B-4F59-8CC2-5F345F5DA227}"/>
                </a:ext>
              </a:extLst>
            </p:cNvPr>
            <p:cNvSpPr/>
            <p:nvPr/>
          </p:nvSpPr>
          <p:spPr>
            <a:xfrm>
              <a:off x="1568099" y="580"/>
              <a:ext cx="6640863" cy="1357661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0B5402B-ABB6-48DA-8D66-38073BFE9A60}"/>
                </a:ext>
              </a:extLst>
            </p:cNvPr>
            <p:cNvSpPr txBox="1"/>
            <p:nvPr/>
          </p:nvSpPr>
          <p:spPr>
            <a:xfrm>
              <a:off x="1568099" y="580"/>
              <a:ext cx="6640863" cy="135766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3686" tIns="143686" rIns="143686" bIns="143686" numCol="1" spcCol="1270" anchor="ctr" anchorCtr="0">
              <a:noAutofit/>
            </a:bodyPr>
            <a:lstStyle/>
            <a:p>
              <a:pPr defTabSz="1111250"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i="1" dirty="0"/>
                <a:t>Related Terminology</a:t>
              </a:r>
              <a:endParaRPr lang="en-US" sz="2800" dirty="0"/>
            </a:p>
          </p:txBody>
        </p:sp>
      </p:grpSp>
      <p:sp>
        <p:nvSpPr>
          <p:cNvPr id="10" name="Rectangle 9" descr="Pencil">
            <a:extLst>
              <a:ext uri="{FF2B5EF4-FFF2-40B4-BE49-F238E27FC236}">
                <a16:creationId xmlns:a16="http://schemas.microsoft.com/office/drawing/2014/main" id="{DB6E4A58-7BB9-416A-8BBC-D9A37071EF32}"/>
              </a:ext>
            </a:extLst>
          </p:cNvPr>
          <p:cNvSpPr/>
          <p:nvPr/>
        </p:nvSpPr>
        <p:spPr>
          <a:xfrm>
            <a:off x="986784" y="3154056"/>
            <a:ext cx="549887" cy="549887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9706025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D542D9-A112-4D0F-9C43-D34D254CE0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68413"/>
          </a:xfrm>
        </p:spPr>
        <p:txBody>
          <a:bodyPr wrap="square" anchor="b">
            <a:normAutofit/>
          </a:bodyPr>
          <a:lstStyle/>
          <a:p>
            <a:r>
              <a:rPr lang="en-US" dirty="0"/>
              <a:t>Related Terminology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173B020F-4B24-48BA-859C-98641D3700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751" y="1484730"/>
            <a:ext cx="8208963" cy="4752977"/>
          </a:xfrm>
        </p:spPr>
        <p:txBody>
          <a:bodyPr/>
          <a:lstStyle/>
          <a:p>
            <a:r>
              <a:rPr lang="en-US" dirty="0"/>
              <a:t>Provi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ho owns the API endpoint and defines the response from the API</a:t>
            </a:r>
          </a:p>
          <a:p>
            <a:endParaRPr lang="en-US" dirty="0"/>
          </a:p>
          <a:p>
            <a:r>
              <a:rPr lang="en-US" dirty="0"/>
              <a:t>Consu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ho calls/uses the API endpoint and expect a predefined response.</a:t>
            </a:r>
          </a:p>
          <a:p>
            <a:endParaRPr lang="en-US" dirty="0"/>
          </a:p>
          <a:p>
            <a:r>
              <a:rPr lang="en-US" dirty="0"/>
              <a:t>Mock Pact Server (or Mock Provid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 server which is configured for the Consumer to interact via mocked endpoint with expected response</a:t>
            </a:r>
          </a:p>
          <a:p>
            <a:endParaRPr lang="en-US" dirty="0"/>
          </a:p>
          <a:p>
            <a:r>
              <a:rPr lang="en-US" dirty="0"/>
              <a:t>Pact 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n autogenerated json file which represents the expected response from Provider for an API endpoint (like written contract)</a:t>
            </a:r>
          </a:p>
          <a:p>
            <a:endParaRPr lang="en-US" dirty="0"/>
          </a:p>
          <a:p>
            <a:r>
              <a:rPr lang="en-US" dirty="0"/>
              <a:t>Pact Broker (Optiona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Stores the Pact File, and validates the API behavior against the Pact File at Provider s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validation can also be done with pact file stored on local folder (same used is used for Demo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1259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FDB7A2C-213F-4EC3-95B3-01972DD0A83B}"/>
              </a:ext>
            </a:extLst>
          </p:cNvPr>
          <p:cNvSpPr/>
          <p:nvPr/>
        </p:nvSpPr>
        <p:spPr>
          <a:xfrm>
            <a:off x="467518" y="2750169"/>
            <a:ext cx="8208963" cy="1357661"/>
          </a:xfrm>
          <a:prstGeom prst="roundRect">
            <a:avLst>
              <a:gd name="adj" fmla="val 10000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44B8276-06B1-4CD5-BBEF-3F9AC614D32C}"/>
              </a:ext>
            </a:extLst>
          </p:cNvPr>
          <p:cNvGrpSpPr/>
          <p:nvPr/>
        </p:nvGrpSpPr>
        <p:grpSpPr>
          <a:xfrm>
            <a:off x="2035617" y="2750169"/>
            <a:ext cx="6640863" cy="1357661"/>
            <a:chOff x="1568099" y="580"/>
            <a:chExt cx="6640863" cy="1357661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C212E00-C27B-4F59-8CC2-5F345F5DA227}"/>
                </a:ext>
              </a:extLst>
            </p:cNvPr>
            <p:cNvSpPr/>
            <p:nvPr/>
          </p:nvSpPr>
          <p:spPr>
            <a:xfrm>
              <a:off x="1568099" y="580"/>
              <a:ext cx="6640863" cy="1357661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0B5402B-ABB6-48DA-8D66-38073BFE9A60}"/>
                </a:ext>
              </a:extLst>
            </p:cNvPr>
            <p:cNvSpPr txBox="1"/>
            <p:nvPr/>
          </p:nvSpPr>
          <p:spPr>
            <a:xfrm>
              <a:off x="1568099" y="580"/>
              <a:ext cx="6640863" cy="135766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3686" tIns="143686" rIns="143686" bIns="143686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i="1" kern="1200" dirty="0"/>
                <a:t>Test Flow</a:t>
              </a:r>
              <a:endParaRPr lang="en-US" sz="2500" kern="1200" dirty="0"/>
            </a:p>
          </p:txBody>
        </p:sp>
      </p:grpSp>
      <p:sp>
        <p:nvSpPr>
          <p:cNvPr id="10" name="Rectangle 9" descr="Head with Gears">
            <a:extLst>
              <a:ext uri="{FF2B5EF4-FFF2-40B4-BE49-F238E27FC236}">
                <a16:creationId xmlns:a16="http://schemas.microsoft.com/office/drawing/2014/main" id="{1E569D9A-EA76-43EC-AEB6-758EDC3E1052}"/>
              </a:ext>
            </a:extLst>
          </p:cNvPr>
          <p:cNvSpPr/>
          <p:nvPr/>
        </p:nvSpPr>
        <p:spPr>
          <a:xfrm>
            <a:off x="899490" y="3077593"/>
            <a:ext cx="713196" cy="702814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42899891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D542D9-A112-4D0F-9C43-D34D254CE0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68413"/>
          </a:xfrm>
        </p:spPr>
        <p:txBody>
          <a:bodyPr wrap="square" anchor="b">
            <a:normAutofit/>
          </a:bodyPr>
          <a:lstStyle/>
          <a:p>
            <a:r>
              <a:rPr lang="en-US" dirty="0"/>
              <a:t>Test Flow</a:t>
            </a:r>
            <a:endParaRPr lang="en-US" b="0" dirty="0"/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74486171-CD13-4999-9BA5-4E2A57EE33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281" y="1412873"/>
            <a:ext cx="8021902" cy="4752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224704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FDB7A2C-213F-4EC3-95B3-01972DD0A83B}"/>
              </a:ext>
            </a:extLst>
          </p:cNvPr>
          <p:cNvSpPr/>
          <p:nvPr/>
        </p:nvSpPr>
        <p:spPr>
          <a:xfrm>
            <a:off x="467518" y="2750169"/>
            <a:ext cx="8208963" cy="1357661"/>
          </a:xfrm>
          <a:prstGeom prst="roundRect">
            <a:avLst>
              <a:gd name="adj" fmla="val 10000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44B8276-06B1-4CD5-BBEF-3F9AC614D32C}"/>
              </a:ext>
            </a:extLst>
          </p:cNvPr>
          <p:cNvGrpSpPr/>
          <p:nvPr/>
        </p:nvGrpSpPr>
        <p:grpSpPr>
          <a:xfrm>
            <a:off x="2035617" y="2750169"/>
            <a:ext cx="6640863" cy="1357661"/>
            <a:chOff x="1568099" y="580"/>
            <a:chExt cx="6640863" cy="1357661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C212E00-C27B-4F59-8CC2-5F345F5DA227}"/>
                </a:ext>
              </a:extLst>
            </p:cNvPr>
            <p:cNvSpPr/>
            <p:nvPr/>
          </p:nvSpPr>
          <p:spPr>
            <a:xfrm>
              <a:off x="1568099" y="580"/>
              <a:ext cx="6640863" cy="1357661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0B5402B-ABB6-48DA-8D66-38073BFE9A60}"/>
                </a:ext>
              </a:extLst>
            </p:cNvPr>
            <p:cNvSpPr txBox="1"/>
            <p:nvPr/>
          </p:nvSpPr>
          <p:spPr>
            <a:xfrm>
              <a:off x="1568099" y="580"/>
              <a:ext cx="6640863" cy="135766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3686" tIns="143686" rIns="143686" bIns="143686" numCol="1" spcCol="1270" anchor="ctr" anchorCtr="0">
              <a:noAutofit/>
            </a:bodyPr>
            <a:lstStyle/>
            <a:p>
              <a:pPr marL="0" lvl="0" indent="0" algn="l" defTabSz="11112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i="1" kern="1200" dirty="0"/>
                <a:t>Example Demo</a:t>
              </a:r>
              <a:endParaRPr lang="en-US" sz="2500" kern="1200" dirty="0"/>
            </a:p>
          </p:txBody>
        </p:sp>
      </p:grpSp>
      <p:sp>
        <p:nvSpPr>
          <p:cNvPr id="11" name="Rectangle 10" descr="Checkmark">
            <a:extLst>
              <a:ext uri="{FF2B5EF4-FFF2-40B4-BE49-F238E27FC236}">
                <a16:creationId xmlns:a16="http://schemas.microsoft.com/office/drawing/2014/main" id="{CCDFE767-7528-414C-B7F1-10AC962A9113}"/>
              </a:ext>
            </a:extLst>
          </p:cNvPr>
          <p:cNvSpPr/>
          <p:nvPr/>
        </p:nvSpPr>
        <p:spPr>
          <a:xfrm>
            <a:off x="947034" y="3154055"/>
            <a:ext cx="549887" cy="549887"/>
          </a:xfrm>
          <a:prstGeom prst="rect">
            <a:avLst/>
          </a:prstGeom>
          <a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5664364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"/>
  <p:tag name="CDT_CUSTOMER_NAME" val="Siemens AG (Corporate Design Update 2016)"/>
  <p:tag name="CDT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8:0-0-406,5005-720"/>
  <p:tag name="CDT_MASTERSHAPE2" val="57350:289,5268-19,75-116,9738-700,25"/>
  <p:tag name="CDT_MASTERSHAPE3" val="57351:406,5005-19,75-30,95134-700,25"/>
  <p:tag name="CDT_MASTERSHAPE4" val="12:0-575,5-63,37504-113,375"/>
  <p:tag name="CDT_MASTERSHAPE5" val="9:0-360-0,1250394-0,125039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3:111,25-371,3751-374,25-348,625"/>
  <p:tag name="CDT_MASTERSHAPE2" val="2:0-0-99,87504-720"/>
  <p:tag name="CDT_MASTERSHAPE3" val="11:111,25-0-374,25-360"/>
  <p:tag name="CDT_MASTERSHAPE4" val="13:111,25-371,3751-374,25-348,62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13:111,25-42,5-374,25-317,5"/>
  <p:tag name="CDT_MASTERSHAPE3" val="5:111,25-371,3751-374,25-348,62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0008-374,25-646,375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53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317,5"/>
  <p:tag name="CDT_MASTERSHAPE3" val="4:111,25-371,375-374,25-317,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646,3751"/>
  <p:tag name="CDT_MASTERSHAPE3" val="13:304-42,5-181,5-646,375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204,0945"/>
  <p:tag name="CDT_MASTERSHAPE3" val="13:111,25-257,9528-374,25-215,4222"/>
  <p:tag name="CDT_MASTERSHAPE4" val="12:111,25-484,75-374,25-204,12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317,5"/>
  <p:tag name="CDT_MASTERSHAPE3" val="4:111,25-371,375-181,375-317,5"/>
  <p:tag name="CDT_MASTERSHAPE4" val="5:303,9999-42,5-181,5-317,5"/>
  <p:tag name="CDT_MASTERSHAPE5" val="6:304-371,375-181,5-317,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720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4:111,25-586,8279-374,25-102,047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533"/>
  <p:tag name="CDT_MASTERSHAPE3" val="5:111,25-586,8279-374,25-102,047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260,6249"/>
  <p:tag name="CDT_MASTERSHAPE3" val="13:111,25-314,4999-374,25-261,0001"/>
  <p:tag name="CDT_MASTERSHAPE4" val="7:111,25-586,8279-374,25-102,047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533"/>
  <p:tag name="CDT_MASTERSHAPE3" val="13:304-42,5-181,5-533"/>
  <p:tag name="CDT_MASTERSHAPE4" val="7:111,25-586,8279-374,25-102,047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260,6249"/>
  <p:tag name="CDT_MASTERSHAPE3" val="13:111,2501-314,4998-181,375-261,0002"/>
  <p:tag name="CDT_MASTERSHAPE4" val="12:304-42,5-181,5-260,6249"/>
  <p:tag name="CDT_MASTERSHAPE5" val="15:304-314,4999-181,5-261,0001"/>
  <p:tag name="CDT_MASTERSHAPE6" val="9:111,25-586,8279-374,25-102,047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7:0-0-99,87504-720"/>
  <p:tag name="CDT_MASTERSHAPE2" val="13:519,5906-0-20,40945-200,7495"/>
  <p:tag name="CDT_MASTERSHAPE3" val="9:485,5-0-34-720"/>
  <p:tag name="CDT_MASTERSHAPE4" val="3079:111,25-42,50008-374,25-646,3751"/>
  <p:tag name="CDT_MASTERSHAPE5" val="12:519,5906-0-20,40945-98,37409"/>
  <p:tag name="CDT_MASTERSHAPE6" val="14:519,5906-212,1243-20,40945-507,8756"/>
  <p:tag name="CDT_MASTERSHAPE7" val="11:0-575,5001-63,50016-113,375"/>
  <p:tag name="CDT_MASTERSHAPE8" val="3078:0-0-99,87504-720"/>
  <p:tag name="CDT_MASTERSHAPE9" val="31:0-360-0,1250394-0,1250394"/>
  <p:tag name="CDT_MASTERSHAPE10" val="29:0-0-0-0"/>
  <p:tag name="CDT_MASTERSHAPE11" val="30:0-0-0-0"/>
  <p:tag name="CDT_MASTERSHAPE12" val="3072:0-0-0-0"/>
  <p:tag name="CDT_MASTERSHAPE13" val="3073:0-0-0-0"/>
  <p:tag name="CDT_MASTERSHAPE14" val="3074:0-0-0-0"/>
  <p:tag name="CDT_MASTERSHAPE15" val="3075:0-0-0-0"/>
  <p:tag name="CDT_MASTERSHAPE16" val="3076:0-0-0-0"/>
  <p:tag name="CDT_MASTERSHAPE17" val="3077:0-0-0-0"/>
  <p:tag name="CDT_MASTERSHAPE18" val="3080:0-0-0-0"/>
  <p:tag name="CDT_MASTERSHAPE19" val="3081:0-0-0-0"/>
  <p:tag name="CDT_MASTERSHAPE20" val="3082:0-0-0-0"/>
  <p:tag name="CDT_MASTERSHAPE21" val="3083:0-0-0-0"/>
  <p:tag name="CDT_MASTERSHAPE22" val="3084:0-0-0-0"/>
  <p:tag name="CDT_MASTERSHAPE23" val="3085:0-0-0-0"/>
  <p:tag name="CDT_MASTERSHAPE24" val="3086:0-0-0-0"/>
  <p:tag name="CDT_MASTERSHAPE25" val="3087:0-0-0-0"/>
  <p:tag name="CDT_MASTERSHAPE26" val="3088:0-0-0-0"/>
  <p:tag name="CDT_MASTERSHAPE27" val="3089:0-0-0-0"/>
  <p:tag name="CDT_MASTERSHAPE28" val="3090:0-0-0-0"/>
  <p:tag name="CDT_MASTERSHAPE29" val="3091:0-0-0-0"/>
  <p:tag name="CDT_MASTERSHAPE30" val="3092:0-0-0-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906"/>
  <p:tag name="CDT_PROT_LEFT" val="0"/>
  <p:tag name="CDT_PROT_WIDTH" val="200,7495"/>
  <p:tag name="CDT_PROT_HEIGHT" val="20,4094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720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906"/>
  <p:tag name="CDT_PROT_LEFT" val="0"/>
  <p:tag name="CDT_PROT_WIDTH" val="98,37409"/>
  <p:tag name="CDT_PROT_HEIGHT" val="20,4094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906"/>
  <p:tag name="CDT_PROT_LEFT" val="212,1243"/>
  <p:tag name="CDT_PROT_WIDTH" val="507,8756"/>
  <p:tag name="CDT_PROT_HEIGHT" val="20,4094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2"/>
  <p:tag name="CDT_PROT_TOP" val="111,25"/>
  <p:tag name="CDT_PROT_LEFT" val="42,50008"/>
  <p:tag name="CDT_PROT_WIDTH" val="646,3751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5"/>
  <p:tag name="CDT_PROT_TOP" val="190,6199"/>
  <p:tag name="CDT_PROT_LEFT" val="19,75"/>
  <p:tag name="CDT_PROT_WIDTH" val="700,25"/>
  <p:tag name="CDT_PROT_HEIGHT" val="148,173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5"/>
  <p:tag name="CDT_PROT_TOP" val="190,6199"/>
  <p:tag name="CDT_PROT_LEFT" val="19,75"/>
  <p:tag name="CDT_PROT_WIDTH" val="700,25"/>
  <p:tag name="CDT_PROT_HEIGHT" val="148,173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2"/>
  <p:tag name="CDT_PROT_TOP" val="0"/>
  <p:tag name="CDT_PROT_LEFT" val="0"/>
  <p:tag name="CDT_PROT_WIDTH" val="720"/>
  <p:tag name="CDT_PROT_HEIGHT" val="99,8750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71,3751"/>
  <p:tag name="CDT_PROT_WIDTH" val="348,625"/>
  <p:tag name="CDT_PROT_HEIGHT" val="374,2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PROT" val="2"/>
  <p:tag name="CDT_PROT_TOP" val="111,25"/>
  <p:tag name="CDT_PROT_LEFT" val="371,3751"/>
  <p:tag name="CDT_PROT_WIDTH" val="348,625"/>
  <p:tag name="CDT_PROT_HEIGHT" val="374,2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317,5"/>
  <p:tag name="CDT_PROT_HEIGHT" val="374,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2"/>
  <p:tag name="CDT_PROT_TOP" val="111,25"/>
  <p:tag name="CDT_PROT_LEFT" val="371,3751"/>
  <p:tag name="CDT_PROT_WIDTH" val="348,625"/>
  <p:tag name="CDT_PROT_HEIGHT" val="374,2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0008"/>
  <p:tag name="CDT_PROT_WIDTH" val="646,3751"/>
  <p:tag name="CDT_PROT_HEIGHT" val="374,2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533"/>
  <p:tag name="CDT_PROT_HEIGHT" val="374,2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8:0-0-326,7-720"/>
  <p:tag name="CDT_MASTERSHAPE2" val="14:0-0-326,7-720"/>
  <p:tag name="CDT_MASTERSHAPE3" val="57350:326,7-19,75-116,9738-700,25"/>
  <p:tag name="CDT_MASTERSHAPE4" val="57351:295,7487-19,75-30,95134-700,25"/>
  <p:tag name="CDT_MASTERSHAPE5" val="11:0-42,5-76,20732-136,063"/>
  <p:tag name="CDT_MASTERSHAPE6" val="10:485,5-0-34-720"/>
  <p:tag name="CDT_MASTERSHAPE7" val="2:485,5-484,75-34-235,25"/>
  <p:tag name="CDT_MASTERSHAPE8" val="15:0-360-0,1250394-0,125039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317,5"/>
  <p:tag name="CDT_PROT_HEIGHT" val="374,2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1,375"/>
  <p:tag name="CDT_PROT_WIDTH" val="317,5"/>
  <p:tag name="CDT_PROT_HEIGHT" val="374,2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317,5"/>
  <p:tag name="CDT_PROT_HEIGHT" val="374,2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646,3751"/>
  <p:tag name="CDT_PROT_HEIGHT" val="181,37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2,5"/>
  <p:tag name="CDT_PROT_WIDTH" val="646,3751"/>
  <p:tag name="CDT_PROT_HEIGHT" val="181,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204,0945"/>
  <p:tag name="CDT_PROT_HEIGHT" val="374,2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57,9528"/>
  <p:tag name="CDT_PROT_WIDTH" val="215,4222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9:0-0-406,08-720"/>
  <p:tag name="CDT_MASTERSHAPE2" val="12:0-0-406,08-720"/>
  <p:tag name="CDT_MASTERSHAPE3" val="57350:289,1062-19,75-116,9738-700,25"/>
  <p:tag name="CDT_MASTERSHAPE4" val="57351:406,08-19,75-30,95134-700,25"/>
  <p:tag name="CDT_MASTERSHAPE5" val="11:0-42,5-76,20732-136,063"/>
  <p:tag name="CDT_MASTERSHAPE6" val="16:0-360-0,1250394-0,1250394"/>
  <p:tag name="CDT_MASTERSHAPE7" val="10:485,5-0-34-720"/>
  <p:tag name="CDT_MASTERSHAPE8" val="15:485,5-484,75-34-235,2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84,75"/>
  <p:tag name="CDT_PROT_WIDTH" val="204,125"/>
  <p:tag name="CDT_PROT_HEIGHT" val="374,2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317,5"/>
  <p:tag name="CDT_PROT_HEIGHT" val="181,37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1,375"/>
  <p:tag name="CDT_PROT_WIDTH" val="317,5"/>
  <p:tag name="CDT_PROT_HEIGHT" val="181,37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3,9999"/>
  <p:tag name="CDT_PROT_LEFT" val="42,5"/>
  <p:tag name="CDT_PROT_WIDTH" val="317,5"/>
  <p:tag name="CDT_PROT_HEIGHT" val="181,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1,375"/>
  <p:tag name="CDT_PROT_WIDTH" val="317,5"/>
  <p:tag name="CDT_PROT_HEIGHT" val="181,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533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9:0-0-540-720"/>
  <p:tag name="CDT_MASTERSHAPE2" val="12:0-0-540-720"/>
  <p:tag name="CDT_MASTERSHAPE3" val="57350:190,6199-19,75-148,1732-700,25"/>
  <p:tag name="CDT_MASTERSHAPE4" val="11:0-42,5-76,20732-136,063"/>
  <p:tag name="CDT_MASTERSHAPE5" val="16:0-360-0,1250394-0,1250394"/>
  <p:tag name="CDT_MASTERSHAPE6" val="10:485,5-0-34-720"/>
  <p:tag name="CDT_MASTERSHAPE7" val="14:485,5-484,75-34-235,25"/>
  <p:tag name="CDT_MASTERSHAPE8" val="57351:190,62-19,75-30,95134-700,2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260,6249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14,4999"/>
  <p:tag name="CDT_PROT_WIDTH" val="261,0001"/>
  <p:tag name="CDT_PROT_HEIGHT" val="374,2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533"/>
  <p:tag name="CDT_PROT_HEIGHT" val="181,37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2,5"/>
  <p:tag name="CDT_PROT_WIDTH" val="533"/>
  <p:tag name="CDT_PROT_HEIGHT" val="181,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9:0-0-540-720"/>
  <p:tag name="CDT_MASTERSHAPE2" val="12:0-0-540-720"/>
  <p:tag name="CDT_MASTERSHAPE3" val="57350:186,798-19,75-148,1732-700,25"/>
  <p:tag name="CDT_MASTERSHAPE4" val="11:0-42,5-76,20732-136,063"/>
  <p:tag name="CDT_MASTERSHAPE5" val="16:0-360-0,1250394-0,1250394"/>
  <p:tag name="CDT_MASTERSHAPE6" val="14:485,5-0-34-720"/>
  <p:tag name="CDT_MASTERSHAPE7" val="15:485,5-484,75-34-235,25"/>
  <p:tag name="CDT_MASTERSHAPE8" val="57351:304-19,75-30,95134-700,2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260,6249"/>
  <p:tag name="CDT_PROT_HEIGHT" val="181,37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314,4998"/>
  <p:tag name="CDT_PROT_WIDTH" val="261,0002"/>
  <p:tag name="CDT_PROT_HEIGHT" val="181,37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2,5"/>
  <p:tag name="CDT_PROT_WIDTH" val="260,6249"/>
  <p:tag name="CDT_PROT_HEIGHT" val="181,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14,4999"/>
  <p:tag name="CDT_PROT_WIDTH" val="261,0001"/>
  <p:tag name="CDT_PROT_HEIGHT" val="181,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71,3751"/>
  <p:tag name="CDT_PROT_WIDTH" val="348,625"/>
  <p:tag name="CDT_PROT_HEIGHT" val="374,2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PROT" val="2"/>
  <p:tag name="CDT_PROT_TOP" val="111,25"/>
  <p:tag name="CDT_PROT_LEFT" val="371,3751"/>
  <p:tag name="CDT_PROT_WIDTH" val="348,625"/>
  <p:tag name="CDT_PROT_HEIGHT" val="374,2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Contact slide"/>
  <p:tag name="CDT_SLIDE_NAME_FRE" val="Contact slide"/>
  <p:tag name="CDT_SLIDE_NAME_GER" val="Kontaktfolie"/>
  <p:tag name="CDT_SLIDE_NAME_SPA" val="Contact slide"/>
  <p:tag name="CDT_SLIDE_NAME_ITA" val="Contact slide"/>
  <p:tag name="CDT_DEFAULT_SLIDE" val="True"/>
  <p:tag name="CDT_INTERSECT_SLIDE" val="False"/>
  <p:tag name="CDT_NAVBARONTHISSLIDE" val="True"/>
  <p:tag name="CDT_DESIGNS_NAME" val="Siemens 2013 – 16:9"/>
  <p:tag name="CDT_MASTERS_NAME" val="Image + Index/Contact"/>
  <p:tag name="CDT_LAYOUT_TYPE" val="32"/>
  <p:tag name="CDT_ORIGINAL_DESIGNS_NAME" val="Siemens 2013 – 16:9"/>
  <p:tag name="CDT_ORIGINAL_MASTERS_NAME" val="Image + Index/Contact"/>
  <p:tag name="CDT_ORIGINAL_LAYOUT_TYPE" val="32"/>
  <p:tag name="MIO_GUID" val="8f0485ba-cf02-4666-97f0-c5d137227b5e"/>
  <p:tag name="MIO_EK" val="627496"/>
  <p:tag name="MIO_EK_DESIGN" val="-1"/>
  <p:tag name="MIO_VERSION_DESIGN" val="01.01.0001 00:00:00"/>
  <p:tag name="MIO_SLIDE_HAS_HYPERLINK" val="False"/>
  <p:tag name="MIO_EKGUID" val="4ca712b8-e1f6-435c-a545-b3b96d4e35c3"/>
  <p:tag name="MIO_UPDATE" val="True"/>
  <p:tag name="MIO_VERSION" val="24.08.2016 15:27:36"/>
  <p:tag name="MIO_DBID" val="598A5C07-C27D-430B-A8FC-FA667BE665A4"/>
  <p:tag name="MIO_LASTDOWNLOADED" val="07.06.2018 09:49:32"/>
  <p:tag name="MIO_OBJECTNAME" val="Kontakt"/>
  <p:tag name="MIO_LASTEDITORNAME" val="Annemarie Loetzsch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ARGETSHAPE_NEW" val="18"/>
  <p:tag name="CDT_PROT" val="3"/>
  <p:tag name="CDT_PROT_TOP" val="0"/>
  <p:tag name="CDT_PROT_LEFT" val="0"/>
  <p:tag name="CDT_PROT_WIDTH" val="960,5"/>
  <p:tag name="CDT_PROT_HEIGHT" val="99,8750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4"/>
  <p:tag name="CDT_DELETE_ONEVENT_NEWPRES" val="False"/>
  <p:tag name="CDT_TARGETSHAPE_NEW" val="12"/>
  <p:tag name="CDT_PROT" val="3"/>
  <p:tag name="CDT_PROT_TOP" val="111,25"/>
  <p:tag name="CDT_PROT_LEFT" val="366,8501"/>
  <p:tag name="CDT_PROT_WIDTH" val="593,6499"/>
  <p:tag name="CDT_PROT_HEIGHT" val="374,2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57359:0-0-326,75-720"/>
  <p:tag name="CDT_MASTERSHAPE2" val="57350:326,7501-19,75-116,9738-700,25"/>
  <p:tag name="CDT_MASTERSHAPE3" val="57351:295,7987-19,75-30,95134-700,25"/>
  <p:tag name="CDT_MASTERSHAPE4" val="8:0-575,5-63,37504-113,375"/>
  <p:tag name="CDT_MASTERSHAPE5" val="9:0-360-0,1250394-0,125039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667717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250394"/>
</p:tagLst>
</file>

<file path=ppt/theme/theme1.xml><?xml version="1.0" encoding="utf-8"?>
<a:theme xmlns:a="http://schemas.openxmlformats.org/drawingml/2006/main" name="Siemens 2016 – 4:3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itle fullscreen (big bar down)</Name>
  <PpLayout>1</PpLayout>
  <Index>3</Index>
</p4ppTags>
</file>

<file path=customXml/item10.xml><?xml version="1.0" encoding="utf-8"?>
<p4ppTags>
  <Name>One object (large)</Name>
  <PpLayout>16</PpLayout>
  <Index>10</Index>
</p4ppTags>
</file>

<file path=customXml/item1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AC6BA74FED062408124886BD9C15E35" ma:contentTypeVersion="6" ma:contentTypeDescription="Create a new document." ma:contentTypeScope="" ma:versionID="45c321a769ff4e7b8abbe7b72cf530f1">
  <xsd:schema xmlns:xsd="http://www.w3.org/2001/XMLSchema" xmlns:xs="http://www.w3.org/2001/XMLSchema" xmlns:p="http://schemas.microsoft.com/office/2006/metadata/properties" xmlns:ns2="a530717f-5de2-46e1-a4ee-1130f24bb79d" targetNamespace="http://schemas.microsoft.com/office/2006/metadata/properties" ma:root="true" ma:fieldsID="592909123af8e5948d71964c88ac937b" ns2:_="">
    <xsd:import namespace="a530717f-5de2-46e1-a4ee-1130f24bb79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30717f-5de2-46e1-a4ee-1130f24bb79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2.xml><?xml version="1.0" encoding="utf-8"?>
<p4ppTags>
  <Name>Free Content + Navigation</Name>
  <PpLayout>32</PpLayout>
  <Index>16</Index>
</p4ppTags>
</file>

<file path=customXml/item13.xml><?xml version="1.0" encoding="utf-8"?>
<p4ppTags>
  <Name>One object (small)</Name>
  <PpLayout>16</PpLayout>
  <Index>11</Index>
</p4ppTags>
</file>

<file path=customXml/item14.xml><?xml version="1.0" encoding="utf-8"?>
<p4ppTags>
  <Name>Two columns</Name>
  <PpLayout>29</PpLayout>
  <Index>12</Index>
</p4ppTags>
</file>

<file path=customXml/item15.xml><?xml version="1.0" encoding="utf-8"?>
<p4ppTags>
  <Name>Two rows</Name>
  <PpLayout>32</PpLayout>
  <Index>13</Index>
</p4ppTags>
</file>

<file path=customXml/item1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17.xml><?xml version="1.0" encoding="utf-8"?>
<p4ppTags>
  <Name>Text + Index</Name>
  <PpLayout>32</PpLayout>
  <Index>8</Index>
</p4ppTags>
</file>

<file path=customXml/item18.xml><?xml version="1.0" encoding="utf-8"?>
<p4ppTags>
  <Name>Four objects</Name>
  <PpLayout>24</PpLayout>
  <Index>15</Index>
</p4ppTags>
</file>

<file path=customXml/item19.xml><?xml version="1.0" encoding="utf-8"?>
<p4ppTags>
  <Name>Title (big bar down)</Name>
  <PpLayout>1</PpLayout>
  <Index>1</Index>
</p4ppTags>
</file>

<file path=customXml/item2.xml><?xml version="1.0" encoding="utf-8"?>
<p4ppTags>
  <Name>1_Two rows</Name>
  <PpLayout>32</PpLayout>
  <Index>14</Index>
</p4ppTags>
</file>

<file path=customXml/item20.xml><?xml version="1.0" encoding="utf-8"?>
<p4ppTags>
  <Name>Four objects + Navigation</Name>
  <PpLayout>32</PpLayout>
  <Index>20</Index>
</p4ppTags>
</file>

<file path=customXml/item21.xml><?xml version="1.0" encoding="utf-8"?>
<p4ppTags>
  <Name>Title fullscreen (big bar down)</Name>
  <PpLayout>1</PpLayout>
  <Index>3</Index>
</p4ppTags>
</file>

<file path=customXml/item3.xml><?xml version="1.0" encoding="utf-8"?>
<p4ppTags>
  <Name>Free Content</Name>
  <PpLayout>11</PpLayout>
  <Index>9</Index>
</p4ppTags>
</file>

<file path=customXml/item4.xml><?xml version="1.0" encoding="utf-8"?>
<p4ppTags/>
</file>

<file path=customXml/item5.xml><?xml version="1.0" encoding="utf-8"?>
<p4ppTags>
  <Name>Two columns + Navigation</Name>
  <PpLayout>32</PpLayout>
  <Index>18</Index>
</p4ppTags>
</file>

<file path=customXml/item6.xml><?xml version="1.0" encoding="utf-8"?>
<p4ppTags>
  <Name>One object (small) + Navigation</Name>
  <PpLayout>32</PpLayout>
  <Index>17</Index>
</p4ppTags>
</file>

<file path=customXml/item7.xml><?xml version="1.0" encoding="utf-8"?>
<p4ppTags>
  <Name>Three columns</Name>
  <PpLayout>32</PpLayout>
  <Index>14</Index>
</p4ppTags>
</file>

<file path=customXml/item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.xml><?xml version="1.0" encoding="utf-8"?>
<p4ppTags>
  <Name>Two rows + Navigation</Name>
  <PpLayout>32</PpLayout>
  <Index>19</Index>
</p4ppTags>
</file>

<file path=customXml/itemProps1.xml><?xml version="1.0" encoding="utf-8"?>
<ds:datastoreItem xmlns:ds="http://schemas.openxmlformats.org/officeDocument/2006/customXml" ds:itemID="{5BA53C14-D0D6-4E0E-8CEC-C4D92ABA7593}">
  <ds:schemaRefs/>
</ds:datastoreItem>
</file>

<file path=customXml/itemProps10.xml><?xml version="1.0" encoding="utf-8"?>
<ds:datastoreItem xmlns:ds="http://schemas.openxmlformats.org/officeDocument/2006/customXml" ds:itemID="{AA004A45-EFAF-4A9B-8FAF-B6FACA8B75CE}">
  <ds:schemaRefs/>
</ds:datastoreItem>
</file>

<file path=customXml/itemProps11.xml><?xml version="1.0" encoding="utf-8"?>
<ds:datastoreItem xmlns:ds="http://schemas.openxmlformats.org/officeDocument/2006/customXml" ds:itemID="{150EF310-689D-4B81-A44F-E46182DA3B2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530717f-5de2-46e1-a4ee-1130f24bb7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2.xml><?xml version="1.0" encoding="utf-8"?>
<ds:datastoreItem xmlns:ds="http://schemas.openxmlformats.org/officeDocument/2006/customXml" ds:itemID="{08CF5312-C8CE-42A4-B96B-D9FCC95FBDB3}">
  <ds:schemaRefs/>
</ds:datastoreItem>
</file>

<file path=customXml/itemProps13.xml><?xml version="1.0" encoding="utf-8"?>
<ds:datastoreItem xmlns:ds="http://schemas.openxmlformats.org/officeDocument/2006/customXml" ds:itemID="{1D21753F-2754-4ED2-A2CB-78BF3FB2865E}">
  <ds:schemaRefs/>
</ds:datastoreItem>
</file>

<file path=customXml/itemProps14.xml><?xml version="1.0" encoding="utf-8"?>
<ds:datastoreItem xmlns:ds="http://schemas.openxmlformats.org/officeDocument/2006/customXml" ds:itemID="{5DED66E8-CCCD-4A02-996E-D5D9017C22E0}">
  <ds:schemaRefs/>
</ds:datastoreItem>
</file>

<file path=customXml/itemProps15.xml><?xml version="1.0" encoding="utf-8"?>
<ds:datastoreItem xmlns:ds="http://schemas.openxmlformats.org/officeDocument/2006/customXml" ds:itemID="{B341031C-DF69-4A64-9B2B-12371A08AC58}">
  <ds:schemaRefs/>
</ds:datastoreItem>
</file>

<file path=customXml/itemProps16.xml><?xml version="1.0" encoding="utf-8"?>
<ds:datastoreItem xmlns:ds="http://schemas.openxmlformats.org/officeDocument/2006/customXml" ds:itemID="{DA3F85DD-E08B-47B8-9634-D6E6FD99EA0B}">
  <ds:schemaRefs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a530717f-5de2-46e1-a4ee-1130f24bb79d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www.w3.org/XML/1998/namespace"/>
  </ds:schemaRefs>
</ds:datastoreItem>
</file>

<file path=customXml/itemProps17.xml><?xml version="1.0" encoding="utf-8"?>
<ds:datastoreItem xmlns:ds="http://schemas.openxmlformats.org/officeDocument/2006/customXml" ds:itemID="{3FF35072-9787-4395-B0AC-06796F4EB77F}">
  <ds:schemaRefs/>
</ds:datastoreItem>
</file>

<file path=customXml/itemProps18.xml><?xml version="1.0" encoding="utf-8"?>
<ds:datastoreItem xmlns:ds="http://schemas.openxmlformats.org/officeDocument/2006/customXml" ds:itemID="{DF615B3B-0AA2-4A12-84A5-4A53F99B524E}">
  <ds:schemaRefs/>
</ds:datastoreItem>
</file>

<file path=customXml/itemProps19.xml><?xml version="1.0" encoding="utf-8"?>
<ds:datastoreItem xmlns:ds="http://schemas.openxmlformats.org/officeDocument/2006/customXml" ds:itemID="{4D52A07D-AEDA-4C9C-B9A8-A2854A202710}">
  <ds:schemaRefs/>
</ds:datastoreItem>
</file>

<file path=customXml/itemProps2.xml><?xml version="1.0" encoding="utf-8"?>
<ds:datastoreItem xmlns:ds="http://schemas.openxmlformats.org/officeDocument/2006/customXml" ds:itemID="{9C85B323-8697-4319-B012-CB7EF0B99A9B}">
  <ds:schemaRefs/>
</ds:datastoreItem>
</file>

<file path=customXml/itemProps20.xml><?xml version="1.0" encoding="utf-8"?>
<ds:datastoreItem xmlns:ds="http://schemas.openxmlformats.org/officeDocument/2006/customXml" ds:itemID="{588D3410-A9B4-4548-8C7E-BC26DA73704D}">
  <ds:schemaRefs/>
</ds:datastoreItem>
</file>

<file path=customXml/itemProps21.xml><?xml version="1.0" encoding="utf-8"?>
<ds:datastoreItem xmlns:ds="http://schemas.openxmlformats.org/officeDocument/2006/customXml" ds:itemID="{3C3C200F-7A0F-43B4-89A2-7EAC51E146B8}">
  <ds:schemaRefs/>
</ds:datastoreItem>
</file>

<file path=customXml/itemProps3.xml><?xml version="1.0" encoding="utf-8"?>
<ds:datastoreItem xmlns:ds="http://schemas.openxmlformats.org/officeDocument/2006/customXml" ds:itemID="{EB9694BB-221C-4E15-A7C9-203B766638CE}">
  <ds:schemaRefs/>
</ds:datastoreItem>
</file>

<file path=customXml/itemProps4.xml><?xml version="1.0" encoding="utf-8"?>
<ds:datastoreItem xmlns:ds="http://schemas.openxmlformats.org/officeDocument/2006/customXml" ds:itemID="{EB8A4E2E-2B8F-4B71-A368-F18362B0C85F}">
  <ds:schemaRefs/>
</ds:datastoreItem>
</file>

<file path=customXml/itemProps5.xml><?xml version="1.0" encoding="utf-8"?>
<ds:datastoreItem xmlns:ds="http://schemas.openxmlformats.org/officeDocument/2006/customXml" ds:itemID="{37815CEA-42C4-4EBE-B2C5-949DF4BD96DF}">
  <ds:schemaRefs/>
</ds:datastoreItem>
</file>

<file path=customXml/itemProps6.xml><?xml version="1.0" encoding="utf-8"?>
<ds:datastoreItem xmlns:ds="http://schemas.openxmlformats.org/officeDocument/2006/customXml" ds:itemID="{D76D7041-CBAA-47E6-9D26-EFF89B25F35C}">
  <ds:schemaRefs/>
</ds:datastoreItem>
</file>

<file path=customXml/itemProps7.xml><?xml version="1.0" encoding="utf-8"?>
<ds:datastoreItem xmlns:ds="http://schemas.openxmlformats.org/officeDocument/2006/customXml" ds:itemID="{BC34F54B-3874-4AF0-9415-8D255EF26171}">
  <ds:schemaRefs/>
</ds:datastoreItem>
</file>

<file path=customXml/itemProps8.xml><?xml version="1.0" encoding="utf-8"?>
<ds:datastoreItem xmlns:ds="http://schemas.openxmlformats.org/officeDocument/2006/customXml" ds:itemID="{E9548DE5-66B9-4A5B-AE2F-CAE304270CD1}">
  <ds:schemaRefs>
    <ds:schemaRef ds:uri="http://schemas.microsoft.com/sharepoint/v3/contenttype/forms"/>
  </ds:schemaRefs>
</ds:datastoreItem>
</file>

<file path=customXml/itemProps9.xml><?xml version="1.0" encoding="utf-8"?>
<ds:datastoreItem xmlns:ds="http://schemas.openxmlformats.org/officeDocument/2006/customXml" ds:itemID="{91321DA8-4787-42F9-B431-20BE2B8E8CFA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283</TotalTime>
  <Words>314</Words>
  <Application>Microsoft Office PowerPoint</Application>
  <PresentationFormat>On-screen Show (4:3)</PresentationFormat>
  <Paragraphs>58</Paragraphs>
  <Slides>11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rial</vt:lpstr>
      <vt:lpstr>Calibri</vt:lpstr>
      <vt:lpstr>Wingdings</vt:lpstr>
      <vt:lpstr>Siemens 2016 – 4:3</vt:lpstr>
      <vt:lpstr>Contract Testing An Introduction</vt:lpstr>
      <vt:lpstr>Agenda</vt:lpstr>
      <vt:lpstr>PowerPoint Presentation</vt:lpstr>
      <vt:lpstr>Introduction</vt:lpstr>
      <vt:lpstr>PowerPoint Presentation</vt:lpstr>
      <vt:lpstr>Related Terminology</vt:lpstr>
      <vt:lpstr>PowerPoint Presentation</vt:lpstr>
      <vt:lpstr>Test Flow</vt:lpstr>
      <vt:lpstr>PowerPoint Presentation</vt:lpstr>
      <vt:lpstr>Demo Setup - python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dge Computing and Siemens Industrial Edge An Introduction</dc:title>
  <dc:creator>Bhadauria, Abhinandan (ADV D AA DDI HMI-RT EC-APPS)</dc:creator>
  <cp:lastModifiedBy>Bhadauria, Abhinandan (ADV D AA DDI HMI-RT EC-APPS)</cp:lastModifiedBy>
  <cp:revision>152</cp:revision>
  <dcterms:created xsi:type="dcterms:W3CDTF">2021-03-30T03:53:57Z</dcterms:created>
  <dcterms:modified xsi:type="dcterms:W3CDTF">2021-07-20T06:3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59b6cd5-d141-4a33-8bf1-0ca04484304f_Enabled">
    <vt:lpwstr>true</vt:lpwstr>
  </property>
  <property fmtid="{D5CDD505-2E9C-101B-9397-08002B2CF9AE}" pid="3" name="MSIP_Label_a59b6cd5-d141-4a33-8bf1-0ca04484304f_SetDate">
    <vt:lpwstr>2021-07-20T06:36:33Z</vt:lpwstr>
  </property>
  <property fmtid="{D5CDD505-2E9C-101B-9397-08002B2CF9AE}" pid="4" name="MSIP_Label_a59b6cd5-d141-4a33-8bf1-0ca04484304f_Method">
    <vt:lpwstr>Standard</vt:lpwstr>
  </property>
  <property fmtid="{D5CDD505-2E9C-101B-9397-08002B2CF9AE}" pid="5" name="MSIP_Label_a59b6cd5-d141-4a33-8bf1-0ca04484304f_Name">
    <vt:lpwstr>restricted-default</vt:lpwstr>
  </property>
  <property fmtid="{D5CDD505-2E9C-101B-9397-08002B2CF9AE}" pid="6" name="MSIP_Label_a59b6cd5-d141-4a33-8bf1-0ca04484304f_SiteId">
    <vt:lpwstr>38ae3bcd-9579-4fd4-adda-b42e1495d55a</vt:lpwstr>
  </property>
  <property fmtid="{D5CDD505-2E9C-101B-9397-08002B2CF9AE}" pid="7" name="MSIP_Label_a59b6cd5-d141-4a33-8bf1-0ca04484304f_ActionId">
    <vt:lpwstr>55e4dd35-c5c5-41e1-8b7f-58f2a3acc5c3</vt:lpwstr>
  </property>
  <property fmtid="{D5CDD505-2E9C-101B-9397-08002B2CF9AE}" pid="8" name="MSIP_Label_a59b6cd5-d141-4a33-8bf1-0ca04484304f_ContentBits">
    <vt:lpwstr>0</vt:lpwstr>
  </property>
  <property fmtid="{D5CDD505-2E9C-101B-9397-08002B2CF9AE}" pid="9" name="Document_Confidentiality">
    <vt:lpwstr>Restricted</vt:lpwstr>
  </property>
</Properties>
</file>